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4003" r:id="rId2"/>
  </p:sldMasterIdLst>
  <p:notesMasterIdLst>
    <p:notesMasterId r:id="rId14"/>
  </p:notesMasterIdLst>
  <p:sldIdLst>
    <p:sldId id="737" r:id="rId3"/>
    <p:sldId id="823" r:id="rId4"/>
    <p:sldId id="822" r:id="rId5"/>
    <p:sldId id="824" r:id="rId6"/>
    <p:sldId id="815" r:id="rId7"/>
    <p:sldId id="814" r:id="rId8"/>
    <p:sldId id="817" r:id="rId9"/>
    <p:sldId id="827" r:id="rId10"/>
    <p:sldId id="828" r:id="rId11"/>
    <p:sldId id="829" r:id="rId12"/>
    <p:sldId id="630" r:id="rId13"/>
  </p:sldIdLst>
  <p:sldSz cx="9144000" cy="6858000" type="screen4x3"/>
  <p:notesSz cx="6799263" cy="9929813"/>
  <p:defaultTextStyle>
    <a:defPPr>
      <a:defRPr lang="pl-P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D668"/>
    <a:srgbClr val="FFFFCD"/>
    <a:srgbClr val="E7A603"/>
    <a:srgbClr val="FCC230"/>
    <a:srgbClr val="FCC63E"/>
    <a:srgbClr val="9751CB"/>
    <a:srgbClr val="431963"/>
    <a:srgbClr val="F7B1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Styl jasny 2 — Ak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Styl pośredni 2 — Ak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tyl jasny 2 — Ak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Styl jasny 2 — Ak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Styl jasny 2 — Ak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C083E6E3-FA7D-4D7B-A595-EF9225AFEA82}" styleName="Styl jasny 1 — Ak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03447BB-5D67-496B-8E87-E561075AD55C}" styleName="Styl ciemny 1 — Ak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940675A-B579-460E-94D1-54222C63F5DA}" styleName="Bez stylu, siatka tabeli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Styl jasny 3 — Ak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9CF1AB2-1976-4502-BF36-3FF5EA218861}" styleName="Styl pośredni 4 — Ak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876" autoAdjust="0"/>
    <p:restoredTop sz="88177" autoAdjust="0"/>
  </p:normalViewPr>
  <p:slideViewPr>
    <p:cSldViewPr>
      <p:cViewPr varScale="1">
        <p:scale>
          <a:sx n="81" d="100"/>
          <a:sy n="81" d="100"/>
        </p:scale>
        <p:origin x="-1056" y="-84"/>
      </p:cViewPr>
      <p:guideLst>
        <p:guide orient="horz" pos="2160"/>
        <p:guide orient="horz" pos="3974"/>
        <p:guide pos="2880"/>
        <p:guide pos="295"/>
        <p:guide pos="546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611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Wancio%20Agata\AppData\Local\Temp\notesDEF0CE\~5380861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Wancio%20Agata\AppData\Local\Temp\notesDEF0CE\~5380861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4045899221275033E-2"/>
          <c:y val="3.438642921019882E-2"/>
          <c:w val="0.57622681628350203"/>
          <c:h val="0.9023523749159361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Arkusz1!$A$2</c:f>
              <c:strCache>
                <c:ptCount val="1"/>
                <c:pt idx="0">
                  <c:v>mazowieckie</c:v>
                </c:pt>
              </c:strCache>
            </c:strRef>
          </c:tx>
          <c:invertIfNegative val="0"/>
          <c:cat>
            <c:strRef>
              <c:f>Arkusz1!$B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B$2</c:f>
              <c:numCache>
                <c:formatCode>0</c:formatCode>
                <c:ptCount val="1"/>
                <c:pt idx="0">
                  <c:v>6672458106.1850004</c:v>
                </c:pt>
              </c:numCache>
            </c:numRef>
          </c:val>
        </c:ser>
        <c:ser>
          <c:idx val="1"/>
          <c:order val="1"/>
          <c:tx>
            <c:strRef>
              <c:f>Arkusz1!$A$3</c:f>
              <c:strCache>
                <c:ptCount val="1"/>
                <c:pt idx="0">
                  <c:v>małopolskie</c:v>
                </c:pt>
              </c:strCache>
            </c:strRef>
          </c:tx>
          <c:invertIfNegative val="0"/>
          <c:cat>
            <c:strRef>
              <c:f>Arkusz1!$B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B$3</c:f>
              <c:numCache>
                <c:formatCode>0</c:formatCode>
                <c:ptCount val="1"/>
                <c:pt idx="0">
                  <c:v>1182977341.885</c:v>
                </c:pt>
              </c:numCache>
            </c:numRef>
          </c:val>
        </c:ser>
        <c:ser>
          <c:idx val="2"/>
          <c:order val="2"/>
          <c:tx>
            <c:strRef>
              <c:f>Arkusz1!$A$4</c:f>
              <c:strCache>
                <c:ptCount val="1"/>
                <c:pt idx="0">
                  <c:v>podkarpackie</c:v>
                </c:pt>
              </c:strCache>
            </c:strRef>
          </c:tx>
          <c:invertIfNegative val="0"/>
          <c:cat>
            <c:strRef>
              <c:f>Arkusz1!$B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B$4</c:f>
              <c:numCache>
                <c:formatCode>0</c:formatCode>
                <c:ptCount val="1"/>
                <c:pt idx="0">
                  <c:v>893647836.67499983</c:v>
                </c:pt>
              </c:numCache>
            </c:numRef>
          </c:val>
        </c:ser>
        <c:ser>
          <c:idx val="3"/>
          <c:order val="3"/>
          <c:tx>
            <c:strRef>
              <c:f>Arkusz1!$A$5</c:f>
              <c:strCache>
                <c:ptCount val="1"/>
                <c:pt idx="0">
                  <c:v>śląskie</c:v>
                </c:pt>
              </c:strCache>
            </c:strRef>
          </c:tx>
          <c:invertIfNegative val="0"/>
          <c:cat>
            <c:strRef>
              <c:f>Arkusz1!$B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B$5</c:f>
              <c:numCache>
                <c:formatCode>0</c:formatCode>
                <c:ptCount val="1"/>
                <c:pt idx="0">
                  <c:v>840916948.80500007</c:v>
                </c:pt>
              </c:numCache>
            </c:numRef>
          </c:val>
        </c:ser>
        <c:ser>
          <c:idx val="4"/>
          <c:order val="4"/>
          <c:tx>
            <c:strRef>
              <c:f>Arkusz1!$A$6</c:f>
              <c:strCache>
                <c:ptCount val="1"/>
                <c:pt idx="0">
                  <c:v>łódzkie</c:v>
                </c:pt>
              </c:strCache>
            </c:strRef>
          </c:tx>
          <c:invertIfNegative val="0"/>
          <c:cat>
            <c:strRef>
              <c:f>Arkusz1!$B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B$6</c:f>
              <c:numCache>
                <c:formatCode>0</c:formatCode>
                <c:ptCount val="1"/>
                <c:pt idx="0">
                  <c:v>612207642.495</c:v>
                </c:pt>
              </c:numCache>
            </c:numRef>
          </c:val>
        </c:ser>
        <c:ser>
          <c:idx val="5"/>
          <c:order val="5"/>
          <c:tx>
            <c:strRef>
              <c:f>Arkusz1!$A$7</c:f>
              <c:strCache>
                <c:ptCount val="1"/>
                <c:pt idx="0">
                  <c:v>kujawsko-pomorskie</c:v>
                </c:pt>
              </c:strCache>
            </c:strRef>
          </c:tx>
          <c:invertIfNegative val="0"/>
          <c:cat>
            <c:strRef>
              <c:f>Arkusz1!$B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B$7</c:f>
              <c:numCache>
                <c:formatCode>0</c:formatCode>
                <c:ptCount val="1"/>
                <c:pt idx="0">
                  <c:v>576145417.01499987</c:v>
                </c:pt>
              </c:numCache>
            </c:numRef>
          </c:val>
        </c:ser>
        <c:ser>
          <c:idx val="6"/>
          <c:order val="6"/>
          <c:tx>
            <c:strRef>
              <c:f>Arkusz1!$A$8</c:f>
              <c:strCache>
                <c:ptCount val="1"/>
                <c:pt idx="0">
                  <c:v>pomorskie</c:v>
                </c:pt>
              </c:strCache>
            </c:strRef>
          </c:tx>
          <c:invertIfNegative val="0"/>
          <c:cat>
            <c:strRef>
              <c:f>Arkusz1!$B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B$8</c:f>
              <c:numCache>
                <c:formatCode>0</c:formatCode>
                <c:ptCount val="1"/>
                <c:pt idx="0">
                  <c:v>543933296.73500013</c:v>
                </c:pt>
              </c:numCache>
            </c:numRef>
          </c:val>
        </c:ser>
        <c:ser>
          <c:idx val="7"/>
          <c:order val="7"/>
          <c:tx>
            <c:strRef>
              <c:f>Arkusz1!$A$9</c:f>
              <c:strCache>
                <c:ptCount val="1"/>
                <c:pt idx="0">
                  <c:v>wielkopolskie</c:v>
                </c:pt>
              </c:strCache>
            </c:strRef>
          </c:tx>
          <c:invertIfNegative val="0"/>
          <c:cat>
            <c:strRef>
              <c:f>Arkusz1!$B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B$9</c:f>
              <c:numCache>
                <c:formatCode>0</c:formatCode>
                <c:ptCount val="1"/>
                <c:pt idx="0">
                  <c:v>527946271.26500005</c:v>
                </c:pt>
              </c:numCache>
            </c:numRef>
          </c:val>
        </c:ser>
        <c:ser>
          <c:idx val="8"/>
          <c:order val="8"/>
          <c:tx>
            <c:strRef>
              <c:f>Arkusz1!$A$10</c:f>
              <c:strCache>
                <c:ptCount val="1"/>
                <c:pt idx="0">
                  <c:v>lubelskie</c:v>
                </c:pt>
              </c:strCache>
            </c:strRef>
          </c:tx>
          <c:invertIfNegative val="0"/>
          <c:cat>
            <c:strRef>
              <c:f>Arkusz1!$B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B$10</c:f>
              <c:numCache>
                <c:formatCode>0</c:formatCode>
                <c:ptCount val="1"/>
                <c:pt idx="0">
                  <c:v>520351826.50499982</c:v>
                </c:pt>
              </c:numCache>
            </c:numRef>
          </c:val>
        </c:ser>
        <c:ser>
          <c:idx val="9"/>
          <c:order val="9"/>
          <c:tx>
            <c:strRef>
              <c:f>Arkusz1!$A$11</c:f>
              <c:strCache>
                <c:ptCount val="1"/>
                <c:pt idx="0">
                  <c:v>dolnośląskie</c:v>
                </c:pt>
              </c:strCache>
            </c:strRef>
          </c:tx>
          <c:invertIfNegative val="0"/>
          <c:cat>
            <c:strRef>
              <c:f>Arkusz1!$B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B$11</c:f>
              <c:numCache>
                <c:formatCode>0</c:formatCode>
                <c:ptCount val="1"/>
                <c:pt idx="0">
                  <c:v>517922830.96499997</c:v>
                </c:pt>
              </c:numCache>
            </c:numRef>
          </c:val>
        </c:ser>
        <c:ser>
          <c:idx val="10"/>
          <c:order val="10"/>
          <c:tx>
            <c:strRef>
              <c:f>Arkusz1!$A$12</c:f>
              <c:strCache>
                <c:ptCount val="1"/>
                <c:pt idx="0">
                  <c:v>warmińsko-mazurskie</c:v>
                </c:pt>
              </c:strCache>
            </c:strRef>
          </c:tx>
          <c:invertIfNegative val="0"/>
          <c:cat>
            <c:strRef>
              <c:f>Arkusz1!$B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B$12</c:f>
              <c:numCache>
                <c:formatCode>0</c:formatCode>
                <c:ptCount val="1"/>
                <c:pt idx="0">
                  <c:v>462127158.28500003</c:v>
                </c:pt>
              </c:numCache>
            </c:numRef>
          </c:val>
        </c:ser>
        <c:ser>
          <c:idx val="11"/>
          <c:order val="11"/>
          <c:tx>
            <c:strRef>
              <c:f>Arkusz1!$A$13</c:f>
              <c:strCache>
                <c:ptCount val="1"/>
                <c:pt idx="0">
                  <c:v>podlaskie</c:v>
                </c:pt>
              </c:strCache>
            </c:strRef>
          </c:tx>
          <c:invertIfNegative val="0"/>
          <c:cat>
            <c:strRef>
              <c:f>Arkusz1!$B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B$13</c:f>
              <c:numCache>
                <c:formatCode>0</c:formatCode>
                <c:ptCount val="1"/>
                <c:pt idx="0">
                  <c:v>314796656.87500006</c:v>
                </c:pt>
              </c:numCache>
            </c:numRef>
          </c:val>
        </c:ser>
        <c:ser>
          <c:idx val="12"/>
          <c:order val="12"/>
          <c:tx>
            <c:strRef>
              <c:f>Arkusz1!$A$14</c:f>
              <c:strCache>
                <c:ptCount val="1"/>
                <c:pt idx="0">
                  <c:v>opolskie</c:v>
                </c:pt>
              </c:strCache>
            </c:strRef>
          </c:tx>
          <c:invertIfNegative val="0"/>
          <c:cat>
            <c:strRef>
              <c:f>Arkusz1!$B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B$14</c:f>
              <c:numCache>
                <c:formatCode>0</c:formatCode>
                <c:ptCount val="1"/>
                <c:pt idx="0">
                  <c:v>274945903.86499995</c:v>
                </c:pt>
              </c:numCache>
            </c:numRef>
          </c:val>
        </c:ser>
        <c:ser>
          <c:idx val="13"/>
          <c:order val="13"/>
          <c:tx>
            <c:strRef>
              <c:f>Arkusz1!$A$15</c:f>
              <c:strCache>
                <c:ptCount val="1"/>
                <c:pt idx="0">
                  <c:v>świętokrzyskie</c:v>
                </c:pt>
              </c:strCache>
            </c:strRef>
          </c:tx>
          <c:invertIfNegative val="0"/>
          <c:cat>
            <c:strRef>
              <c:f>Arkusz1!$B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B$15</c:f>
              <c:numCache>
                <c:formatCode>0</c:formatCode>
                <c:ptCount val="1"/>
                <c:pt idx="0">
                  <c:v>264270470.405</c:v>
                </c:pt>
              </c:numCache>
            </c:numRef>
          </c:val>
        </c:ser>
        <c:ser>
          <c:idx val="14"/>
          <c:order val="14"/>
          <c:tx>
            <c:strRef>
              <c:f>Arkusz1!$A$16</c:f>
              <c:strCache>
                <c:ptCount val="1"/>
                <c:pt idx="0">
                  <c:v>zachodniopomorskie</c:v>
                </c:pt>
              </c:strCache>
            </c:strRef>
          </c:tx>
          <c:invertIfNegative val="0"/>
          <c:cat>
            <c:strRef>
              <c:f>Arkusz1!$B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B$16</c:f>
              <c:numCache>
                <c:formatCode>0</c:formatCode>
                <c:ptCount val="1"/>
                <c:pt idx="0">
                  <c:v>182673882.04500005</c:v>
                </c:pt>
              </c:numCache>
            </c:numRef>
          </c:val>
        </c:ser>
        <c:ser>
          <c:idx val="15"/>
          <c:order val="15"/>
          <c:tx>
            <c:strRef>
              <c:f>Arkusz1!$A$17</c:f>
              <c:strCache>
                <c:ptCount val="1"/>
                <c:pt idx="0">
                  <c:v>lubuskie</c:v>
                </c:pt>
              </c:strCache>
            </c:strRef>
          </c:tx>
          <c:invertIfNegative val="0"/>
          <c:cat>
            <c:strRef>
              <c:f>Arkusz1!$B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B$17</c:f>
              <c:numCache>
                <c:formatCode>0</c:formatCode>
                <c:ptCount val="1"/>
                <c:pt idx="0">
                  <c:v>116747037.315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"/>
        <c:overlap val="100"/>
        <c:axId val="130908544"/>
        <c:axId val="130910080"/>
      </c:barChart>
      <c:catAx>
        <c:axId val="130908544"/>
        <c:scaling>
          <c:orientation val="minMax"/>
        </c:scaling>
        <c:delete val="1"/>
        <c:axPos val="b"/>
        <c:majorTickMark val="out"/>
        <c:minorTickMark val="none"/>
        <c:tickLblPos val="nextTo"/>
        <c:crossAx val="130910080"/>
        <c:crosses val="autoZero"/>
        <c:auto val="1"/>
        <c:lblAlgn val="ctr"/>
        <c:lblOffset val="100"/>
        <c:noMultiLvlLbl val="0"/>
      </c:catAx>
      <c:valAx>
        <c:axId val="130910080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l-PL"/>
          </a:p>
        </c:txPr>
        <c:crossAx val="1309085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755417266858037"/>
          <c:y val="2.7175136379277418E-2"/>
          <c:w val="0.3244582733141963"/>
          <c:h val="0.89609470814993153"/>
        </c:manualLayout>
      </c:layout>
      <c:overlay val="0"/>
      <c:txPr>
        <a:bodyPr/>
        <a:lstStyle/>
        <a:p>
          <a:pPr>
            <a:defRPr sz="1100"/>
          </a:pPr>
          <a:endParaRPr lang="pl-PL"/>
        </a:p>
      </c:txPr>
    </c:legend>
    <c:plotVisOnly val="1"/>
    <c:dispBlanksAs val="gap"/>
    <c:showDLblsOverMax val="0"/>
  </c:chart>
  <c:spPr>
    <a:ln>
      <a:solidFill>
        <a:srgbClr val="0070C0"/>
      </a:solidFill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4045899221275033E-2"/>
          <c:y val="3.438642921019882E-2"/>
          <c:w val="0.54520107357787051"/>
          <c:h val="0.9094929367220770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Arkusz1!$D$2</c:f>
              <c:strCache>
                <c:ptCount val="1"/>
                <c:pt idx="0">
                  <c:v>mazowieckie</c:v>
                </c:pt>
              </c:strCache>
            </c:strRef>
          </c:tx>
          <c:invertIfNegative val="0"/>
          <c:cat>
            <c:strRef>
              <c:f>Arkusz1!$E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E$2</c:f>
              <c:numCache>
                <c:formatCode>0.00</c:formatCode>
                <c:ptCount val="1"/>
                <c:pt idx="0">
                  <c:v>1247.3950090024255</c:v>
                </c:pt>
              </c:numCache>
            </c:numRef>
          </c:val>
        </c:ser>
        <c:ser>
          <c:idx val="1"/>
          <c:order val="1"/>
          <c:tx>
            <c:strRef>
              <c:f>Arkusz1!$D$3</c:f>
              <c:strCache>
                <c:ptCount val="1"/>
                <c:pt idx="0">
                  <c:v>małopolskie</c:v>
                </c:pt>
              </c:strCache>
            </c:strRef>
          </c:tx>
          <c:invertIfNegative val="0"/>
          <c:cat>
            <c:strRef>
              <c:f>Arkusz1!$E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E$3</c:f>
              <c:numCache>
                <c:formatCode>0.00</c:formatCode>
                <c:ptCount val="1"/>
                <c:pt idx="0">
                  <c:v>350.75936316683362</c:v>
                </c:pt>
              </c:numCache>
            </c:numRef>
          </c:val>
        </c:ser>
        <c:ser>
          <c:idx val="2"/>
          <c:order val="2"/>
          <c:tx>
            <c:strRef>
              <c:f>Arkusz1!$D$4</c:f>
              <c:strCache>
                <c:ptCount val="1"/>
                <c:pt idx="0">
                  <c:v>podkarpackie</c:v>
                </c:pt>
              </c:strCache>
            </c:strRef>
          </c:tx>
          <c:invertIfNegative val="0"/>
          <c:cat>
            <c:strRef>
              <c:f>Arkusz1!$E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E$4</c:f>
              <c:numCache>
                <c:formatCode>0.00</c:formatCode>
                <c:ptCount val="1"/>
                <c:pt idx="0">
                  <c:v>420.01499145538958</c:v>
                </c:pt>
              </c:numCache>
            </c:numRef>
          </c:val>
        </c:ser>
        <c:ser>
          <c:idx val="3"/>
          <c:order val="3"/>
          <c:tx>
            <c:strRef>
              <c:f>Arkusz1!$D$5</c:f>
              <c:strCache>
                <c:ptCount val="1"/>
                <c:pt idx="0">
                  <c:v>śląskie</c:v>
                </c:pt>
              </c:strCache>
            </c:strRef>
          </c:tx>
          <c:invertIfNegative val="0"/>
          <c:cat>
            <c:strRef>
              <c:f>Arkusz1!$E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E$5</c:f>
              <c:numCache>
                <c:formatCode>0.00</c:formatCode>
                <c:ptCount val="1"/>
                <c:pt idx="0">
                  <c:v>183.97390699298973</c:v>
                </c:pt>
              </c:numCache>
            </c:numRef>
          </c:val>
        </c:ser>
        <c:ser>
          <c:idx val="4"/>
          <c:order val="4"/>
          <c:tx>
            <c:strRef>
              <c:f>Arkusz1!$D$6</c:f>
              <c:strCache>
                <c:ptCount val="1"/>
                <c:pt idx="0">
                  <c:v>łódzkie</c:v>
                </c:pt>
              </c:strCache>
            </c:strRef>
          </c:tx>
          <c:invertIfNegative val="0"/>
          <c:cat>
            <c:strRef>
              <c:f>Arkusz1!$E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E$6</c:f>
              <c:numCache>
                <c:formatCode>0.00</c:formatCode>
                <c:ptCount val="1"/>
                <c:pt idx="0">
                  <c:v>245.51127123884595</c:v>
                </c:pt>
              </c:numCache>
            </c:numRef>
          </c:val>
        </c:ser>
        <c:ser>
          <c:idx val="5"/>
          <c:order val="5"/>
          <c:tx>
            <c:strRef>
              <c:f>Arkusz1!$D$7</c:f>
              <c:strCache>
                <c:ptCount val="1"/>
                <c:pt idx="0">
                  <c:v>kujawsko-pomorskie</c:v>
                </c:pt>
              </c:strCache>
            </c:strRef>
          </c:tx>
          <c:invertIfNegative val="0"/>
          <c:cat>
            <c:strRef>
              <c:f>Arkusz1!$E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E$7</c:f>
              <c:numCache>
                <c:formatCode>0.00</c:formatCode>
                <c:ptCount val="1"/>
                <c:pt idx="0">
                  <c:v>276.16846674831385</c:v>
                </c:pt>
              </c:numCache>
            </c:numRef>
          </c:val>
        </c:ser>
        <c:ser>
          <c:idx val="6"/>
          <c:order val="6"/>
          <c:tx>
            <c:strRef>
              <c:f>Arkusz1!$D$8</c:f>
              <c:strCache>
                <c:ptCount val="1"/>
                <c:pt idx="0">
                  <c:v>pomorskie</c:v>
                </c:pt>
              </c:strCache>
            </c:strRef>
          </c:tx>
          <c:invertIfNegative val="0"/>
          <c:cat>
            <c:strRef>
              <c:f>Arkusz1!$E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E$8</c:f>
              <c:numCache>
                <c:formatCode>0.00</c:formatCode>
                <c:ptCount val="1"/>
                <c:pt idx="0">
                  <c:v>235.70262153173499</c:v>
                </c:pt>
              </c:numCache>
            </c:numRef>
          </c:val>
        </c:ser>
        <c:ser>
          <c:idx val="7"/>
          <c:order val="7"/>
          <c:tx>
            <c:strRef>
              <c:f>Arkusz1!$D$9</c:f>
              <c:strCache>
                <c:ptCount val="1"/>
                <c:pt idx="0">
                  <c:v>wielkopolskie</c:v>
                </c:pt>
              </c:strCache>
            </c:strRef>
          </c:tx>
          <c:invertIfNegative val="0"/>
          <c:cat>
            <c:strRef>
              <c:f>Arkusz1!$E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E$9</c:f>
              <c:numCache>
                <c:formatCode>0.00</c:formatCode>
                <c:ptCount val="1"/>
                <c:pt idx="0">
                  <c:v>151.91286429059977</c:v>
                </c:pt>
              </c:numCache>
            </c:numRef>
          </c:val>
        </c:ser>
        <c:ser>
          <c:idx val="8"/>
          <c:order val="8"/>
          <c:tx>
            <c:strRef>
              <c:f>Arkusz1!$D$10</c:f>
              <c:strCache>
                <c:ptCount val="1"/>
                <c:pt idx="0">
                  <c:v>lubelskie</c:v>
                </c:pt>
              </c:strCache>
            </c:strRef>
          </c:tx>
          <c:invertIfNegative val="0"/>
          <c:cat>
            <c:strRef>
              <c:f>Arkusz1!$E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E$10</c:f>
              <c:numCache>
                <c:formatCode>0.00</c:formatCode>
                <c:ptCount val="1"/>
                <c:pt idx="0">
                  <c:v>243.18619603865159</c:v>
                </c:pt>
              </c:numCache>
            </c:numRef>
          </c:val>
        </c:ser>
        <c:ser>
          <c:idx val="9"/>
          <c:order val="9"/>
          <c:tx>
            <c:strRef>
              <c:f>Arkusz1!$D$11</c:f>
              <c:strCache>
                <c:ptCount val="1"/>
                <c:pt idx="0">
                  <c:v>dolnośląskie</c:v>
                </c:pt>
              </c:strCache>
            </c:strRef>
          </c:tx>
          <c:invertIfNegative val="0"/>
          <c:cat>
            <c:strRef>
              <c:f>Arkusz1!$E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E$11</c:f>
              <c:numCache>
                <c:formatCode>0.00</c:formatCode>
                <c:ptCount val="1"/>
                <c:pt idx="0">
                  <c:v>178.33592302074445</c:v>
                </c:pt>
              </c:numCache>
            </c:numRef>
          </c:val>
        </c:ser>
        <c:ser>
          <c:idx val="10"/>
          <c:order val="10"/>
          <c:tx>
            <c:strRef>
              <c:f>Arkusz1!$D$12</c:f>
              <c:strCache>
                <c:ptCount val="1"/>
                <c:pt idx="0">
                  <c:v>warmińsko-mazurskie</c:v>
                </c:pt>
              </c:strCache>
            </c:strRef>
          </c:tx>
          <c:invertIfNegative val="0"/>
          <c:cat>
            <c:strRef>
              <c:f>Arkusz1!$E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E$12</c:f>
              <c:numCache>
                <c:formatCode>0.00</c:formatCode>
                <c:ptCount val="1"/>
                <c:pt idx="0">
                  <c:v>320.99408427943808</c:v>
                </c:pt>
              </c:numCache>
            </c:numRef>
          </c:val>
        </c:ser>
        <c:ser>
          <c:idx val="11"/>
          <c:order val="11"/>
          <c:tx>
            <c:strRef>
              <c:f>Arkusz1!$D$13</c:f>
              <c:strCache>
                <c:ptCount val="1"/>
                <c:pt idx="0">
                  <c:v>podlaskie</c:v>
                </c:pt>
              </c:strCache>
            </c:strRef>
          </c:tx>
          <c:invertIfNegative val="0"/>
          <c:cat>
            <c:strRef>
              <c:f>Arkusz1!$E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E$13</c:f>
              <c:numCache>
                <c:formatCode>0.00</c:formatCode>
                <c:ptCount val="1"/>
                <c:pt idx="0">
                  <c:v>264.80203303751688</c:v>
                </c:pt>
              </c:numCache>
            </c:numRef>
          </c:val>
        </c:ser>
        <c:ser>
          <c:idx val="12"/>
          <c:order val="12"/>
          <c:tx>
            <c:strRef>
              <c:f>Arkusz1!$D$14</c:f>
              <c:strCache>
                <c:ptCount val="1"/>
                <c:pt idx="0">
                  <c:v>opolskie</c:v>
                </c:pt>
              </c:strCache>
            </c:strRef>
          </c:tx>
          <c:invertIfNegative val="0"/>
          <c:cat>
            <c:strRef>
              <c:f>Arkusz1!$E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E$14</c:f>
              <c:numCache>
                <c:formatCode>0.00</c:formatCode>
                <c:ptCount val="1"/>
                <c:pt idx="0">
                  <c:v>276.04705556966735</c:v>
                </c:pt>
              </c:numCache>
            </c:numRef>
          </c:val>
        </c:ser>
        <c:ser>
          <c:idx val="13"/>
          <c:order val="13"/>
          <c:tx>
            <c:strRef>
              <c:f>Arkusz1!$D$15</c:f>
              <c:strCache>
                <c:ptCount val="1"/>
                <c:pt idx="0">
                  <c:v>świętokrzyskie</c:v>
                </c:pt>
              </c:strCache>
            </c:strRef>
          </c:tx>
          <c:invertIfNegative val="0"/>
          <c:cat>
            <c:strRef>
              <c:f>Arkusz1!$E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E$15</c:f>
              <c:numCache>
                <c:formatCode>0.00</c:formatCode>
                <c:ptCount val="1"/>
                <c:pt idx="0">
                  <c:v>210.2091034013454</c:v>
                </c:pt>
              </c:numCache>
            </c:numRef>
          </c:val>
        </c:ser>
        <c:ser>
          <c:idx val="14"/>
          <c:order val="14"/>
          <c:tx>
            <c:strRef>
              <c:f>Arkusz1!$D$16</c:f>
              <c:strCache>
                <c:ptCount val="1"/>
                <c:pt idx="0">
                  <c:v>zachodniopomorskie</c:v>
                </c:pt>
              </c:strCache>
            </c:strRef>
          </c:tx>
          <c:invertIfNegative val="0"/>
          <c:cat>
            <c:strRef>
              <c:f>Arkusz1!$E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E$16</c:f>
              <c:numCache>
                <c:formatCode>0.00</c:formatCode>
                <c:ptCount val="1"/>
                <c:pt idx="0">
                  <c:v>106.79672866770889</c:v>
                </c:pt>
              </c:numCache>
            </c:numRef>
          </c:val>
        </c:ser>
        <c:ser>
          <c:idx val="15"/>
          <c:order val="15"/>
          <c:tx>
            <c:strRef>
              <c:f>Arkusz1!$D$17</c:f>
              <c:strCache>
                <c:ptCount val="1"/>
                <c:pt idx="0">
                  <c:v>lubuskie</c:v>
                </c:pt>
              </c:strCache>
            </c:strRef>
          </c:tx>
          <c:invertIfNegative val="0"/>
          <c:cat>
            <c:strRef>
              <c:f>Arkusz1!$E$1</c:f>
              <c:strCache>
                <c:ptCount val="1"/>
                <c:pt idx="0">
                  <c:v>wartość</c:v>
                </c:pt>
              </c:strCache>
            </c:strRef>
          </c:cat>
          <c:val>
            <c:numRef>
              <c:f>Arkusz1!$E$17</c:f>
              <c:numCache>
                <c:formatCode>0.00</c:formatCode>
                <c:ptCount val="1"/>
                <c:pt idx="0">
                  <c:v>114.673285617886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"/>
        <c:overlap val="100"/>
        <c:axId val="132949504"/>
        <c:axId val="132951040"/>
      </c:barChart>
      <c:catAx>
        <c:axId val="132949504"/>
        <c:scaling>
          <c:orientation val="minMax"/>
        </c:scaling>
        <c:delete val="1"/>
        <c:axPos val="b"/>
        <c:majorTickMark val="out"/>
        <c:minorTickMark val="none"/>
        <c:tickLblPos val="nextTo"/>
        <c:crossAx val="132951040"/>
        <c:crosses val="autoZero"/>
        <c:auto val="1"/>
        <c:lblAlgn val="ctr"/>
        <c:lblOffset val="100"/>
        <c:noMultiLvlLbl val="0"/>
      </c:catAx>
      <c:valAx>
        <c:axId val="132951040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pl-PL"/>
          </a:p>
        </c:txPr>
        <c:crossAx val="13294950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6862563139381748"/>
          <c:y val="2.7175136379277418E-2"/>
          <c:w val="0.3181513566979145"/>
          <c:h val="0.89609470814993153"/>
        </c:manualLayout>
      </c:layout>
      <c:overlay val="0"/>
      <c:txPr>
        <a:bodyPr/>
        <a:lstStyle/>
        <a:p>
          <a:pPr>
            <a:defRPr sz="1100"/>
          </a:pPr>
          <a:endParaRPr lang="pl-PL"/>
        </a:p>
      </c:txPr>
    </c:legend>
    <c:plotVisOnly val="1"/>
    <c:dispBlanksAs val="gap"/>
    <c:showDLblsOverMax val="0"/>
  </c:chart>
  <c:spPr>
    <a:ln>
      <a:solidFill>
        <a:schemeClr val="accent1"/>
      </a:solidFill>
    </a:ln>
  </c:sp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32C282-2AB5-46F8-86CF-111D0B7599BA}" type="doc">
      <dgm:prSet loTypeId="urn:microsoft.com/office/officeart/2005/8/layout/funnel1" loCatId="relationship" qsTypeId="urn:microsoft.com/office/officeart/2005/8/quickstyle/3d2" qsCatId="3D" csTypeId="urn:microsoft.com/office/officeart/2005/8/colors/colorful4" csCatId="colorful" phldr="1"/>
      <dgm:spPr/>
      <dgm:t>
        <a:bodyPr/>
        <a:lstStyle/>
        <a:p>
          <a:endParaRPr lang="pl-PL"/>
        </a:p>
      </dgm:t>
    </dgm:pt>
    <dgm:pt modelId="{99789973-891B-4439-837E-0205CBC6EEDE}">
      <dgm:prSet phldrT="[Tekst]" custT="1"/>
      <dgm:spPr/>
      <dgm:t>
        <a:bodyPr/>
        <a:lstStyle/>
        <a:p>
          <a:r>
            <a:rPr lang="pl-PL" sz="1600" b="1" smtClean="0"/>
            <a:t>Dane z gremiów PPO m.in. GR ds. KIS, GK ds. KIS</a:t>
          </a:r>
          <a:endParaRPr lang="pl-PL" sz="1600" b="1" dirty="0"/>
        </a:p>
      </dgm:t>
    </dgm:pt>
    <dgm:pt modelId="{7ECFA8D5-8EC0-4AEE-B04D-897C1BA586A6}" type="parTrans" cxnId="{89C1DD5E-3964-4E7C-A7CE-97929ADCB4F2}">
      <dgm:prSet/>
      <dgm:spPr/>
      <dgm:t>
        <a:bodyPr/>
        <a:lstStyle/>
        <a:p>
          <a:endParaRPr lang="pl-PL"/>
        </a:p>
      </dgm:t>
    </dgm:pt>
    <dgm:pt modelId="{3D385400-8BBB-4DDB-9B08-5A282A57154B}" type="sibTrans" cxnId="{89C1DD5E-3964-4E7C-A7CE-97929ADCB4F2}">
      <dgm:prSet/>
      <dgm:spPr/>
      <dgm:t>
        <a:bodyPr/>
        <a:lstStyle/>
        <a:p>
          <a:endParaRPr lang="pl-PL"/>
        </a:p>
      </dgm:t>
    </dgm:pt>
    <dgm:pt modelId="{B4AD018F-356B-4AD8-B730-11EBBAFE90A7}">
      <dgm:prSet phldrT="[Tekst]"/>
      <dgm:spPr/>
      <dgm:t>
        <a:bodyPr/>
        <a:lstStyle/>
        <a:p>
          <a:r>
            <a:rPr lang="pl-PL" b="1" dirty="0" smtClean="0"/>
            <a:t>System monitorowania KIS</a:t>
          </a:r>
          <a:endParaRPr lang="pl-PL" b="1" dirty="0"/>
        </a:p>
      </dgm:t>
    </dgm:pt>
    <dgm:pt modelId="{CD64924E-0485-49AE-8EA8-A5BF5997E85E}" type="parTrans" cxnId="{46DF38E1-BA72-441D-9294-C72AA85F4833}">
      <dgm:prSet/>
      <dgm:spPr/>
      <dgm:t>
        <a:bodyPr/>
        <a:lstStyle/>
        <a:p>
          <a:endParaRPr lang="pl-PL"/>
        </a:p>
      </dgm:t>
    </dgm:pt>
    <dgm:pt modelId="{BDF7D13D-4F13-44E0-9F83-E6B49FCAE32F}" type="sibTrans" cxnId="{46DF38E1-BA72-441D-9294-C72AA85F4833}">
      <dgm:prSet/>
      <dgm:spPr/>
      <dgm:t>
        <a:bodyPr/>
        <a:lstStyle/>
        <a:p>
          <a:endParaRPr lang="pl-PL"/>
        </a:p>
      </dgm:t>
    </dgm:pt>
    <dgm:pt modelId="{B9A49E90-611A-496E-85B8-C721A249DC55}">
      <dgm:prSet phldrT="[Tekst]"/>
      <dgm:spPr/>
      <dgm:t>
        <a:bodyPr/>
        <a:lstStyle/>
        <a:p>
          <a:endParaRPr lang="pl-PL"/>
        </a:p>
      </dgm:t>
    </dgm:pt>
    <dgm:pt modelId="{F99147C6-C6DE-44FE-9F65-3F0D295E6919}" type="parTrans" cxnId="{A7796E64-8B90-4B18-BA97-BABC22511170}">
      <dgm:prSet/>
      <dgm:spPr/>
      <dgm:t>
        <a:bodyPr/>
        <a:lstStyle/>
        <a:p>
          <a:endParaRPr lang="pl-PL"/>
        </a:p>
      </dgm:t>
    </dgm:pt>
    <dgm:pt modelId="{36641DA1-EC51-46FF-AB19-181156BEBBA5}" type="sibTrans" cxnId="{A7796E64-8B90-4B18-BA97-BABC22511170}">
      <dgm:prSet/>
      <dgm:spPr/>
      <dgm:t>
        <a:bodyPr/>
        <a:lstStyle/>
        <a:p>
          <a:endParaRPr lang="pl-PL"/>
        </a:p>
      </dgm:t>
    </dgm:pt>
    <dgm:pt modelId="{C16142B7-1647-4D92-8373-E90BB6A4047B}">
      <dgm:prSet phldrT="[Tekst]"/>
      <dgm:spPr/>
      <dgm:t>
        <a:bodyPr/>
        <a:lstStyle/>
        <a:p>
          <a:endParaRPr lang="pl-PL"/>
        </a:p>
      </dgm:t>
    </dgm:pt>
    <dgm:pt modelId="{4299D20F-91C3-406C-BC88-7C408E95019F}" type="parTrans" cxnId="{BBC7DF85-23C5-4B12-B626-B583D12322DC}">
      <dgm:prSet/>
      <dgm:spPr/>
      <dgm:t>
        <a:bodyPr/>
        <a:lstStyle/>
        <a:p>
          <a:endParaRPr lang="pl-PL"/>
        </a:p>
      </dgm:t>
    </dgm:pt>
    <dgm:pt modelId="{5DBF6DC1-E786-4427-91F6-3F36C32DFA5C}" type="sibTrans" cxnId="{BBC7DF85-23C5-4B12-B626-B583D12322DC}">
      <dgm:prSet/>
      <dgm:spPr/>
      <dgm:t>
        <a:bodyPr/>
        <a:lstStyle/>
        <a:p>
          <a:endParaRPr lang="pl-PL"/>
        </a:p>
      </dgm:t>
    </dgm:pt>
    <dgm:pt modelId="{C78C4691-BF09-40D0-8851-7AC3133B8E88}">
      <dgm:prSet custT="1"/>
      <dgm:spPr>
        <a:solidFill>
          <a:srgbClr val="00B0F0"/>
        </a:solidFill>
      </dgm:spPr>
      <dgm:t>
        <a:bodyPr/>
        <a:lstStyle/>
        <a:p>
          <a:r>
            <a:rPr lang="pl-PL" altLang="pl-PL" sz="1600" b="1" dirty="0" smtClean="0"/>
            <a:t>Dane w zakresie monitorowania KIS/RIS:  m.in. lista wskaźników wspólnych, dane z PO</a:t>
          </a:r>
          <a:endParaRPr lang="pl-PL" altLang="pl-PL" sz="1600" b="1" dirty="0"/>
        </a:p>
      </dgm:t>
    </dgm:pt>
    <dgm:pt modelId="{EBA4AD44-C6EA-4851-B2F4-14D3B9220C03}" type="parTrans" cxnId="{BAA92601-B67C-48EF-BB50-257A3B0075B8}">
      <dgm:prSet/>
      <dgm:spPr/>
      <dgm:t>
        <a:bodyPr/>
        <a:lstStyle/>
        <a:p>
          <a:endParaRPr lang="pl-PL"/>
        </a:p>
      </dgm:t>
    </dgm:pt>
    <dgm:pt modelId="{E0421A2E-5EF1-4412-9AFF-9A113757143D}" type="sibTrans" cxnId="{BAA92601-B67C-48EF-BB50-257A3B0075B8}">
      <dgm:prSet/>
      <dgm:spPr/>
      <dgm:t>
        <a:bodyPr/>
        <a:lstStyle/>
        <a:p>
          <a:endParaRPr lang="pl-PL"/>
        </a:p>
      </dgm:t>
    </dgm:pt>
    <dgm:pt modelId="{F9F5E36B-6CE6-43CB-9728-988750AB6731}">
      <dgm:prSet/>
      <dgm:spPr/>
      <dgm:t>
        <a:bodyPr/>
        <a:lstStyle/>
        <a:p>
          <a:r>
            <a:rPr lang="pl-PL" altLang="pl-PL" b="1" dirty="0" smtClean="0"/>
            <a:t>Wyniki badań i ewaluacji </a:t>
          </a:r>
          <a:r>
            <a:rPr lang="pl-PL" altLang="pl-PL" dirty="0" smtClean="0"/>
            <a:t>– m.in. analizy, ewaluacje tematyczne</a:t>
          </a:r>
          <a:endParaRPr lang="pl-PL" altLang="pl-PL" dirty="0"/>
        </a:p>
      </dgm:t>
    </dgm:pt>
    <dgm:pt modelId="{D97016D8-847C-4DA3-A6F8-96E8A398E901}" type="parTrans" cxnId="{0D0B35D2-6956-48F7-92ED-C487D213E314}">
      <dgm:prSet/>
      <dgm:spPr/>
      <dgm:t>
        <a:bodyPr/>
        <a:lstStyle/>
        <a:p>
          <a:endParaRPr lang="pl-PL"/>
        </a:p>
      </dgm:t>
    </dgm:pt>
    <dgm:pt modelId="{C08E1E06-82BF-49B6-AD6E-46D132875321}" type="sibTrans" cxnId="{0D0B35D2-6956-48F7-92ED-C487D213E314}">
      <dgm:prSet/>
      <dgm:spPr/>
      <dgm:t>
        <a:bodyPr/>
        <a:lstStyle/>
        <a:p>
          <a:endParaRPr lang="pl-PL"/>
        </a:p>
      </dgm:t>
    </dgm:pt>
    <dgm:pt modelId="{9978B4B7-843E-4E5B-9CCD-650AD97ECDAC}" type="pres">
      <dgm:prSet presAssocID="{C532C282-2AB5-46F8-86CF-111D0B7599BA}" presName="Name0" presStyleCnt="0">
        <dgm:presLayoutVars>
          <dgm:chMax val="4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3FE1F240-2BDD-4948-A534-008D0C42C3D0}" type="pres">
      <dgm:prSet presAssocID="{C532C282-2AB5-46F8-86CF-111D0B7599BA}" presName="ellipse" presStyleLbl="trBgShp" presStyleIdx="0" presStyleCnt="1"/>
      <dgm:spPr/>
      <dgm:t>
        <a:bodyPr/>
        <a:lstStyle/>
        <a:p>
          <a:endParaRPr lang="pl-PL"/>
        </a:p>
      </dgm:t>
    </dgm:pt>
    <dgm:pt modelId="{ECBFAB55-5FBE-4658-88D2-AC0D19437C53}" type="pres">
      <dgm:prSet presAssocID="{C532C282-2AB5-46F8-86CF-111D0B7599BA}" presName="arrow1" presStyleLbl="fgShp" presStyleIdx="0" presStyleCnt="1" custLinFactNeighborX="3959" custLinFactNeighborY="-8908"/>
      <dgm:spPr/>
      <dgm:t>
        <a:bodyPr/>
        <a:lstStyle/>
        <a:p>
          <a:endParaRPr lang="pl-PL"/>
        </a:p>
      </dgm:t>
    </dgm:pt>
    <dgm:pt modelId="{9F8C7F3F-901C-4A8F-91CE-B7F12C3A6E04}" type="pres">
      <dgm:prSet presAssocID="{C532C282-2AB5-46F8-86CF-111D0B7599BA}" presName="rectangle" presStyleLbl="revTx" presStyleIdx="0" presStyleCnt="1" custScaleX="13156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999363A6-4105-4592-9FEE-39BBA87FA8CC}" type="pres">
      <dgm:prSet presAssocID="{F9F5E36B-6CE6-43CB-9728-988750AB6731}" presName="item1" presStyleLbl="node1" presStyleIdx="0" presStyleCnt="3" custScaleX="213588" custScaleY="111579" custLinFactNeighborX="-13861" custLinFactNeighborY="1629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FD1DA41A-A66C-4175-A3A3-03E783D2F099}" type="pres">
      <dgm:prSet presAssocID="{C78C4691-BF09-40D0-8851-7AC3133B8E88}" presName="item2" presStyleLbl="node1" presStyleIdx="1" presStyleCnt="3" custScaleX="193410" custLinFactNeighborX="5290" custLinFactNeighborY="-19060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84832B1-08B3-47FE-9902-D0CE79DBD087}" type="pres">
      <dgm:prSet presAssocID="{B4AD018F-356B-4AD8-B730-11EBBAFE90A7}" presName="item3" presStyleLbl="node1" presStyleIdx="2" presStyleCnt="3" custScaleX="175053" custLinFactNeighborX="57864" custLinFactNeighborY="20986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94078B99-A5D1-4C69-BD13-B2EB9E294E6D}" type="pres">
      <dgm:prSet presAssocID="{C532C282-2AB5-46F8-86CF-111D0B7599BA}" presName="funnel" presStyleLbl="trAlignAcc1" presStyleIdx="0" presStyleCnt="1" custScaleX="153576" custLinFactNeighborX="558" custLinFactNeighborY="5949"/>
      <dgm:spPr/>
      <dgm:t>
        <a:bodyPr/>
        <a:lstStyle/>
        <a:p>
          <a:endParaRPr lang="pl-PL"/>
        </a:p>
      </dgm:t>
    </dgm:pt>
  </dgm:ptLst>
  <dgm:cxnLst>
    <dgm:cxn modelId="{89C1DD5E-3964-4E7C-A7CE-97929ADCB4F2}" srcId="{C532C282-2AB5-46F8-86CF-111D0B7599BA}" destId="{99789973-891B-4439-837E-0205CBC6EEDE}" srcOrd="0" destOrd="0" parTransId="{7ECFA8D5-8EC0-4AEE-B04D-897C1BA586A6}" sibTransId="{3D385400-8BBB-4DDB-9B08-5A282A57154B}"/>
    <dgm:cxn modelId="{D5F514BC-7ACF-439F-AB01-441BF73FE1F1}" type="presOf" srcId="{C532C282-2AB5-46F8-86CF-111D0B7599BA}" destId="{9978B4B7-843E-4E5B-9CCD-650AD97ECDAC}" srcOrd="0" destOrd="0" presId="urn:microsoft.com/office/officeart/2005/8/layout/funnel1"/>
    <dgm:cxn modelId="{B4A556A3-E226-4D33-B450-67ECF4296EC5}" type="presOf" srcId="{C78C4691-BF09-40D0-8851-7AC3133B8E88}" destId="{999363A6-4105-4592-9FEE-39BBA87FA8CC}" srcOrd="0" destOrd="0" presId="urn:microsoft.com/office/officeart/2005/8/layout/funnel1"/>
    <dgm:cxn modelId="{BAA92601-B67C-48EF-BB50-257A3B0075B8}" srcId="{C532C282-2AB5-46F8-86CF-111D0B7599BA}" destId="{C78C4691-BF09-40D0-8851-7AC3133B8E88}" srcOrd="2" destOrd="0" parTransId="{EBA4AD44-C6EA-4851-B2F4-14D3B9220C03}" sibTransId="{E0421A2E-5EF1-4412-9AFF-9A113757143D}"/>
    <dgm:cxn modelId="{9CCC0B1C-2611-4690-82AB-D35D709AFB44}" type="presOf" srcId="{F9F5E36B-6CE6-43CB-9728-988750AB6731}" destId="{FD1DA41A-A66C-4175-A3A3-03E783D2F099}" srcOrd="0" destOrd="0" presId="urn:microsoft.com/office/officeart/2005/8/layout/funnel1"/>
    <dgm:cxn modelId="{0D0B35D2-6956-48F7-92ED-C487D213E314}" srcId="{C532C282-2AB5-46F8-86CF-111D0B7599BA}" destId="{F9F5E36B-6CE6-43CB-9728-988750AB6731}" srcOrd="1" destOrd="0" parTransId="{D97016D8-847C-4DA3-A6F8-96E8A398E901}" sibTransId="{C08E1E06-82BF-49B6-AD6E-46D132875321}"/>
    <dgm:cxn modelId="{46DF38E1-BA72-441D-9294-C72AA85F4833}" srcId="{C532C282-2AB5-46F8-86CF-111D0B7599BA}" destId="{B4AD018F-356B-4AD8-B730-11EBBAFE90A7}" srcOrd="3" destOrd="0" parTransId="{CD64924E-0485-49AE-8EA8-A5BF5997E85E}" sibTransId="{BDF7D13D-4F13-44E0-9F83-E6B49FCAE32F}"/>
    <dgm:cxn modelId="{BBC7DF85-23C5-4B12-B626-B583D12322DC}" srcId="{C532C282-2AB5-46F8-86CF-111D0B7599BA}" destId="{C16142B7-1647-4D92-8373-E90BB6A4047B}" srcOrd="5" destOrd="0" parTransId="{4299D20F-91C3-406C-BC88-7C408E95019F}" sibTransId="{5DBF6DC1-E786-4427-91F6-3F36C32DFA5C}"/>
    <dgm:cxn modelId="{D708BF2B-2607-4B28-843F-C594748E1E83}" type="presOf" srcId="{B4AD018F-356B-4AD8-B730-11EBBAFE90A7}" destId="{9F8C7F3F-901C-4A8F-91CE-B7F12C3A6E04}" srcOrd="0" destOrd="0" presId="urn:microsoft.com/office/officeart/2005/8/layout/funnel1"/>
    <dgm:cxn modelId="{30269B51-82F3-4580-B664-D114BB68A6DA}" type="presOf" srcId="{99789973-891B-4439-837E-0205CBC6EEDE}" destId="{384832B1-08B3-47FE-9902-D0CE79DBD087}" srcOrd="0" destOrd="0" presId="urn:microsoft.com/office/officeart/2005/8/layout/funnel1"/>
    <dgm:cxn modelId="{A7796E64-8B90-4B18-BA97-BABC22511170}" srcId="{C532C282-2AB5-46F8-86CF-111D0B7599BA}" destId="{B9A49E90-611A-496E-85B8-C721A249DC55}" srcOrd="4" destOrd="0" parTransId="{F99147C6-C6DE-44FE-9F65-3F0D295E6919}" sibTransId="{36641DA1-EC51-46FF-AB19-181156BEBBA5}"/>
    <dgm:cxn modelId="{1C6CC2EF-6038-43D5-A7EE-6E92908306BD}" type="presParOf" srcId="{9978B4B7-843E-4E5B-9CCD-650AD97ECDAC}" destId="{3FE1F240-2BDD-4948-A534-008D0C42C3D0}" srcOrd="0" destOrd="0" presId="urn:microsoft.com/office/officeart/2005/8/layout/funnel1"/>
    <dgm:cxn modelId="{6612CBCF-5106-4F57-9194-0B8A8E9DB9E1}" type="presParOf" srcId="{9978B4B7-843E-4E5B-9CCD-650AD97ECDAC}" destId="{ECBFAB55-5FBE-4658-88D2-AC0D19437C53}" srcOrd="1" destOrd="0" presId="urn:microsoft.com/office/officeart/2005/8/layout/funnel1"/>
    <dgm:cxn modelId="{44F2CD6D-1869-4BC6-8A20-F1F0C2820069}" type="presParOf" srcId="{9978B4B7-843E-4E5B-9CCD-650AD97ECDAC}" destId="{9F8C7F3F-901C-4A8F-91CE-B7F12C3A6E04}" srcOrd="2" destOrd="0" presId="urn:microsoft.com/office/officeart/2005/8/layout/funnel1"/>
    <dgm:cxn modelId="{7F78C458-E45E-4ABC-9D74-B5544965AE75}" type="presParOf" srcId="{9978B4B7-843E-4E5B-9CCD-650AD97ECDAC}" destId="{999363A6-4105-4592-9FEE-39BBA87FA8CC}" srcOrd="3" destOrd="0" presId="urn:microsoft.com/office/officeart/2005/8/layout/funnel1"/>
    <dgm:cxn modelId="{CFE2099B-90DF-404B-96F5-F6F1859AD202}" type="presParOf" srcId="{9978B4B7-843E-4E5B-9CCD-650AD97ECDAC}" destId="{FD1DA41A-A66C-4175-A3A3-03E783D2F099}" srcOrd="4" destOrd="0" presId="urn:microsoft.com/office/officeart/2005/8/layout/funnel1"/>
    <dgm:cxn modelId="{7159692C-1BD7-417A-941A-763D806DCFD2}" type="presParOf" srcId="{9978B4B7-843E-4E5B-9CCD-650AD97ECDAC}" destId="{384832B1-08B3-47FE-9902-D0CE79DBD087}" srcOrd="5" destOrd="0" presId="urn:microsoft.com/office/officeart/2005/8/layout/funnel1"/>
    <dgm:cxn modelId="{4A8895E2-296D-4131-9810-54C8B4624EFB}" type="presParOf" srcId="{9978B4B7-843E-4E5B-9CCD-650AD97ECDAC}" destId="{94078B99-A5D1-4C69-BD13-B2EB9E294E6D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7FC8412-772F-4E21-9924-B5D1BEF2B0A8}" type="doc">
      <dgm:prSet loTypeId="urn:microsoft.com/office/officeart/2005/8/layout/radial4" loCatId="relationship" qsTypeId="urn:microsoft.com/office/officeart/2005/8/quickstyle/3d1" qsCatId="3D" csTypeId="urn:microsoft.com/office/officeart/2005/8/colors/colorful1" csCatId="colorful" phldr="1"/>
      <dgm:spPr/>
      <dgm:t>
        <a:bodyPr/>
        <a:lstStyle/>
        <a:p>
          <a:endParaRPr lang="pl-PL"/>
        </a:p>
      </dgm:t>
    </dgm:pt>
    <dgm:pt modelId="{F140A133-70A5-49DA-8A3D-5378678C704C}">
      <dgm:prSet phldrT="[Tekst]" custT="1"/>
      <dgm:spPr/>
      <dgm:t>
        <a:bodyPr/>
        <a:lstStyle/>
        <a:p>
          <a:r>
            <a:rPr lang="pl-PL" sz="1600" b="1" dirty="0" smtClean="0"/>
            <a:t>Monitorowanie KIS</a:t>
          </a:r>
          <a:endParaRPr lang="pl-PL" sz="1600" b="1" dirty="0"/>
        </a:p>
      </dgm:t>
    </dgm:pt>
    <dgm:pt modelId="{034E0EAD-B6FE-4FDB-B29D-D366AB5E84FB}" type="parTrans" cxnId="{D707EFFF-1EFA-4635-AF16-0EC590549825}">
      <dgm:prSet/>
      <dgm:spPr/>
      <dgm:t>
        <a:bodyPr/>
        <a:lstStyle/>
        <a:p>
          <a:endParaRPr lang="pl-PL"/>
        </a:p>
      </dgm:t>
    </dgm:pt>
    <dgm:pt modelId="{F26FA76A-BA2E-4F09-B59C-8AE21D3D5916}" type="sibTrans" cxnId="{D707EFFF-1EFA-4635-AF16-0EC590549825}">
      <dgm:prSet/>
      <dgm:spPr/>
      <dgm:t>
        <a:bodyPr/>
        <a:lstStyle/>
        <a:p>
          <a:endParaRPr lang="pl-PL"/>
        </a:p>
      </dgm:t>
    </dgm:pt>
    <dgm:pt modelId="{172951EB-2132-4091-86F6-058BA2E76B0B}">
      <dgm:prSet phldrT="[Tekst]"/>
      <dgm:spPr/>
      <dgm:t>
        <a:bodyPr/>
        <a:lstStyle/>
        <a:p>
          <a:r>
            <a:rPr lang="pl-PL" dirty="0" smtClean="0"/>
            <a:t>PO PC</a:t>
          </a:r>
          <a:endParaRPr lang="pl-PL" dirty="0"/>
        </a:p>
      </dgm:t>
    </dgm:pt>
    <dgm:pt modelId="{AD26157F-60FA-4141-A32C-EAD623606E50}" type="parTrans" cxnId="{35B18F1A-7D0E-4A50-A1F1-39501A691929}">
      <dgm:prSet/>
      <dgm:spPr/>
      <dgm:t>
        <a:bodyPr/>
        <a:lstStyle/>
        <a:p>
          <a:endParaRPr lang="pl-PL"/>
        </a:p>
      </dgm:t>
    </dgm:pt>
    <dgm:pt modelId="{C85F1621-DCAE-4ED0-8500-B44C917B6E15}" type="sibTrans" cxnId="{35B18F1A-7D0E-4A50-A1F1-39501A691929}">
      <dgm:prSet/>
      <dgm:spPr/>
      <dgm:t>
        <a:bodyPr/>
        <a:lstStyle/>
        <a:p>
          <a:endParaRPr lang="pl-PL"/>
        </a:p>
      </dgm:t>
    </dgm:pt>
    <dgm:pt modelId="{C25951B0-A10E-4914-ACDD-A5ABA0BD6B5F}">
      <dgm:prSet phldrT="[Tekst]"/>
      <dgm:spPr/>
      <dgm:t>
        <a:bodyPr/>
        <a:lstStyle/>
        <a:p>
          <a:r>
            <a:rPr lang="pl-PL" dirty="0" smtClean="0"/>
            <a:t>RPO</a:t>
          </a:r>
          <a:endParaRPr lang="pl-PL" dirty="0"/>
        </a:p>
      </dgm:t>
    </dgm:pt>
    <dgm:pt modelId="{4E271F13-C474-441D-A330-5D602F0815F8}" type="parTrans" cxnId="{9E534E5C-7DD0-4F4C-90E1-3F071EEF0108}">
      <dgm:prSet/>
      <dgm:spPr/>
      <dgm:t>
        <a:bodyPr/>
        <a:lstStyle/>
        <a:p>
          <a:endParaRPr lang="pl-PL"/>
        </a:p>
      </dgm:t>
    </dgm:pt>
    <dgm:pt modelId="{63E63161-D4C2-4883-ABFD-4B7614FA6259}" type="sibTrans" cxnId="{9E534E5C-7DD0-4F4C-90E1-3F071EEF0108}">
      <dgm:prSet/>
      <dgm:spPr/>
      <dgm:t>
        <a:bodyPr/>
        <a:lstStyle/>
        <a:p>
          <a:endParaRPr lang="pl-PL"/>
        </a:p>
      </dgm:t>
    </dgm:pt>
    <dgm:pt modelId="{F414DCAB-B133-4FCB-BC56-C206B514BEBF}">
      <dgm:prSet phldrT="[Tekst]"/>
      <dgm:spPr/>
      <dgm:t>
        <a:bodyPr/>
        <a:lstStyle/>
        <a:p>
          <a:endParaRPr lang="pl-PL"/>
        </a:p>
      </dgm:t>
    </dgm:pt>
    <dgm:pt modelId="{1C77CDE8-CBB2-4F24-92AD-9CF7B2FEFC96}" type="parTrans" cxnId="{61227F64-B49A-435C-8472-029798A8B0B9}">
      <dgm:prSet/>
      <dgm:spPr/>
      <dgm:t>
        <a:bodyPr/>
        <a:lstStyle/>
        <a:p>
          <a:endParaRPr lang="pl-PL"/>
        </a:p>
      </dgm:t>
    </dgm:pt>
    <dgm:pt modelId="{C8A06FE1-E786-43A7-BBE4-D24A6A7B520C}" type="sibTrans" cxnId="{61227F64-B49A-435C-8472-029798A8B0B9}">
      <dgm:prSet/>
      <dgm:spPr/>
      <dgm:t>
        <a:bodyPr/>
        <a:lstStyle/>
        <a:p>
          <a:endParaRPr lang="pl-PL"/>
        </a:p>
      </dgm:t>
    </dgm:pt>
    <dgm:pt modelId="{5BA6231B-5883-4DD2-A97B-A637EE7586B6}">
      <dgm:prSet/>
      <dgm:spPr/>
      <dgm:t>
        <a:bodyPr/>
        <a:lstStyle/>
        <a:p>
          <a:r>
            <a:rPr lang="pl-PL" dirty="0" smtClean="0"/>
            <a:t>PO IR</a:t>
          </a:r>
          <a:endParaRPr lang="pl-PL" dirty="0"/>
        </a:p>
      </dgm:t>
    </dgm:pt>
    <dgm:pt modelId="{66ADFD09-5BF7-4ACB-864B-DDE7CB644B2E}" type="parTrans" cxnId="{8C46194F-4F90-404B-BE70-569D29E9B802}">
      <dgm:prSet/>
      <dgm:spPr/>
      <dgm:t>
        <a:bodyPr/>
        <a:lstStyle/>
        <a:p>
          <a:endParaRPr lang="pl-PL"/>
        </a:p>
      </dgm:t>
    </dgm:pt>
    <dgm:pt modelId="{06A36D31-461B-4410-8BF7-6779F8B15367}" type="sibTrans" cxnId="{8C46194F-4F90-404B-BE70-569D29E9B802}">
      <dgm:prSet/>
      <dgm:spPr/>
      <dgm:t>
        <a:bodyPr/>
        <a:lstStyle/>
        <a:p>
          <a:endParaRPr lang="pl-PL"/>
        </a:p>
      </dgm:t>
    </dgm:pt>
    <dgm:pt modelId="{1E7CD3C7-AF06-46D7-929A-3C30BA5E7D0A}">
      <dgm:prSet/>
      <dgm:spPr/>
      <dgm:t>
        <a:bodyPr/>
        <a:lstStyle/>
        <a:p>
          <a:r>
            <a:rPr lang="pl-PL" dirty="0" smtClean="0"/>
            <a:t>PO IŚ</a:t>
          </a:r>
          <a:endParaRPr lang="pl-PL" dirty="0"/>
        </a:p>
      </dgm:t>
    </dgm:pt>
    <dgm:pt modelId="{3469F464-2B60-4815-8143-9C8205DC29B9}" type="parTrans" cxnId="{ADD49EA8-3919-4EC3-97CB-362520930B23}">
      <dgm:prSet/>
      <dgm:spPr/>
      <dgm:t>
        <a:bodyPr/>
        <a:lstStyle/>
        <a:p>
          <a:endParaRPr lang="pl-PL"/>
        </a:p>
      </dgm:t>
    </dgm:pt>
    <dgm:pt modelId="{A24D98C4-187E-4D58-B04C-018574FBEC37}" type="sibTrans" cxnId="{ADD49EA8-3919-4EC3-97CB-362520930B23}">
      <dgm:prSet/>
      <dgm:spPr/>
      <dgm:t>
        <a:bodyPr/>
        <a:lstStyle/>
        <a:p>
          <a:endParaRPr lang="pl-PL"/>
        </a:p>
      </dgm:t>
    </dgm:pt>
    <dgm:pt modelId="{16A33C3B-EAB0-4448-A1F6-CA73BF18E8FD}">
      <dgm:prSet/>
      <dgm:spPr/>
      <dgm:t>
        <a:bodyPr/>
        <a:lstStyle/>
        <a:p>
          <a:r>
            <a:rPr lang="pl-PL" dirty="0" smtClean="0"/>
            <a:t>Horyzont 2020</a:t>
          </a:r>
          <a:endParaRPr lang="pl-PL" dirty="0"/>
        </a:p>
      </dgm:t>
    </dgm:pt>
    <dgm:pt modelId="{078258DF-C5FF-4F14-BDD3-A0913C53C2EC}" type="parTrans" cxnId="{DE8F9D96-AF71-43C2-A37E-E812EF433D73}">
      <dgm:prSet/>
      <dgm:spPr/>
      <dgm:t>
        <a:bodyPr/>
        <a:lstStyle/>
        <a:p>
          <a:endParaRPr lang="pl-PL"/>
        </a:p>
      </dgm:t>
    </dgm:pt>
    <dgm:pt modelId="{583C3BF7-673E-4FD6-8D8A-AA252A61AA35}" type="sibTrans" cxnId="{DE8F9D96-AF71-43C2-A37E-E812EF433D73}">
      <dgm:prSet/>
      <dgm:spPr/>
      <dgm:t>
        <a:bodyPr/>
        <a:lstStyle/>
        <a:p>
          <a:endParaRPr lang="pl-PL"/>
        </a:p>
      </dgm:t>
    </dgm:pt>
    <dgm:pt modelId="{40CD0BE7-68B0-44A4-AEB0-565C2F33DB89}">
      <dgm:prSet/>
      <dgm:spPr/>
      <dgm:t>
        <a:bodyPr/>
        <a:lstStyle/>
        <a:p>
          <a:r>
            <a:rPr lang="pl-PL" dirty="0" smtClean="0"/>
            <a:t>PO PW</a:t>
          </a:r>
          <a:endParaRPr lang="pl-PL" dirty="0"/>
        </a:p>
      </dgm:t>
    </dgm:pt>
    <dgm:pt modelId="{125DFB7A-77DC-449F-B59B-C24A5C39D568}" type="parTrans" cxnId="{E5359E4C-9BA4-4514-A4E6-AD55C4197797}">
      <dgm:prSet/>
      <dgm:spPr/>
      <dgm:t>
        <a:bodyPr/>
        <a:lstStyle/>
        <a:p>
          <a:endParaRPr lang="pl-PL"/>
        </a:p>
      </dgm:t>
    </dgm:pt>
    <dgm:pt modelId="{E1B70250-4FB0-4592-9ABC-9B91CA64E9A7}" type="sibTrans" cxnId="{E5359E4C-9BA4-4514-A4E6-AD55C4197797}">
      <dgm:prSet/>
      <dgm:spPr/>
      <dgm:t>
        <a:bodyPr/>
        <a:lstStyle/>
        <a:p>
          <a:endParaRPr lang="pl-PL"/>
        </a:p>
      </dgm:t>
    </dgm:pt>
    <dgm:pt modelId="{DC61B0E3-0996-474E-B5BA-539380F8A6A7}">
      <dgm:prSet/>
      <dgm:spPr/>
      <dgm:t>
        <a:bodyPr/>
        <a:lstStyle/>
        <a:p>
          <a:r>
            <a:rPr lang="pl-PL" dirty="0" smtClean="0"/>
            <a:t>PO WER</a:t>
          </a:r>
          <a:endParaRPr lang="pl-PL" dirty="0"/>
        </a:p>
      </dgm:t>
    </dgm:pt>
    <dgm:pt modelId="{1DF23416-5AEE-4261-8177-71744E3A0A31}" type="parTrans" cxnId="{2CC4749E-E4E8-499A-BD7B-BF1BD61B8A6D}">
      <dgm:prSet/>
      <dgm:spPr/>
      <dgm:t>
        <a:bodyPr/>
        <a:lstStyle/>
        <a:p>
          <a:endParaRPr lang="pl-PL"/>
        </a:p>
      </dgm:t>
    </dgm:pt>
    <dgm:pt modelId="{F2D3BB8D-8492-4475-A74C-B51AE8374194}" type="sibTrans" cxnId="{2CC4749E-E4E8-499A-BD7B-BF1BD61B8A6D}">
      <dgm:prSet/>
      <dgm:spPr/>
      <dgm:t>
        <a:bodyPr/>
        <a:lstStyle/>
        <a:p>
          <a:endParaRPr lang="pl-PL"/>
        </a:p>
      </dgm:t>
    </dgm:pt>
    <dgm:pt modelId="{0BD70FB5-FA81-4A19-8B08-A83AE9F66B62}" type="pres">
      <dgm:prSet presAssocID="{57FC8412-772F-4E21-9924-B5D1BEF2B0A8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01756CFB-E004-4762-B736-852788050C25}" type="pres">
      <dgm:prSet presAssocID="{F140A133-70A5-49DA-8A3D-5378678C704C}" presName="centerShape" presStyleLbl="node0" presStyleIdx="0" presStyleCnt="1" custScaleX="114382" custScaleY="71574" custLinFactNeighborX="0" custLinFactNeighborY="-975"/>
      <dgm:spPr/>
      <dgm:t>
        <a:bodyPr/>
        <a:lstStyle/>
        <a:p>
          <a:endParaRPr lang="pl-PL"/>
        </a:p>
      </dgm:t>
    </dgm:pt>
    <dgm:pt modelId="{26C699C7-4871-4C69-9971-F5C1E8703EFF}" type="pres">
      <dgm:prSet presAssocID="{AD26157F-60FA-4141-A32C-EAD623606E50}" presName="parTrans" presStyleLbl="bgSibTrans2D1" presStyleIdx="0" presStyleCnt="7"/>
      <dgm:spPr/>
      <dgm:t>
        <a:bodyPr/>
        <a:lstStyle/>
        <a:p>
          <a:endParaRPr lang="pl-PL"/>
        </a:p>
      </dgm:t>
    </dgm:pt>
    <dgm:pt modelId="{F7257014-B222-4C0D-9161-575E34C65912}" type="pres">
      <dgm:prSet presAssocID="{172951EB-2132-4091-86F6-058BA2E76B0B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230EC1E2-FFA3-4C1E-AE86-0C9FA948D102}" type="pres">
      <dgm:prSet presAssocID="{4E271F13-C474-441D-A330-5D602F0815F8}" presName="parTrans" presStyleLbl="bgSibTrans2D1" presStyleIdx="1" presStyleCnt="7"/>
      <dgm:spPr/>
      <dgm:t>
        <a:bodyPr/>
        <a:lstStyle/>
        <a:p>
          <a:endParaRPr lang="pl-PL"/>
        </a:p>
      </dgm:t>
    </dgm:pt>
    <dgm:pt modelId="{C8FF768B-CD45-4552-9C94-361BCC5D8A5F}" type="pres">
      <dgm:prSet presAssocID="{C25951B0-A10E-4914-ACDD-A5ABA0BD6B5F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99FB1F94-BD94-4527-ACD2-A65770D79467}" type="pres">
      <dgm:prSet presAssocID="{66ADFD09-5BF7-4ACB-864B-DDE7CB644B2E}" presName="parTrans" presStyleLbl="bgSibTrans2D1" presStyleIdx="2" presStyleCnt="7"/>
      <dgm:spPr/>
      <dgm:t>
        <a:bodyPr/>
        <a:lstStyle/>
        <a:p>
          <a:endParaRPr lang="pl-PL"/>
        </a:p>
      </dgm:t>
    </dgm:pt>
    <dgm:pt modelId="{8A87FA29-6C6C-4CC5-A6BE-87BE43DE65DB}" type="pres">
      <dgm:prSet presAssocID="{5BA6231B-5883-4DD2-A97B-A637EE7586B6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DCF2CE9B-9E51-464E-91D5-55D2E7D3B071}" type="pres">
      <dgm:prSet presAssocID="{3469F464-2B60-4815-8143-9C8205DC29B9}" presName="parTrans" presStyleLbl="bgSibTrans2D1" presStyleIdx="3" presStyleCnt="7"/>
      <dgm:spPr/>
      <dgm:t>
        <a:bodyPr/>
        <a:lstStyle/>
        <a:p>
          <a:endParaRPr lang="pl-PL"/>
        </a:p>
      </dgm:t>
    </dgm:pt>
    <dgm:pt modelId="{D408FC49-DF9C-4163-9FCE-EFA1C686E43D}" type="pres">
      <dgm:prSet presAssocID="{1E7CD3C7-AF06-46D7-929A-3C30BA5E7D0A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6D7EFF9-C42B-431E-A571-A7EAA90EBECE}" type="pres">
      <dgm:prSet presAssocID="{1DF23416-5AEE-4261-8177-71744E3A0A31}" presName="parTrans" presStyleLbl="bgSibTrans2D1" presStyleIdx="4" presStyleCnt="7"/>
      <dgm:spPr/>
      <dgm:t>
        <a:bodyPr/>
        <a:lstStyle/>
        <a:p>
          <a:endParaRPr lang="pl-PL"/>
        </a:p>
      </dgm:t>
    </dgm:pt>
    <dgm:pt modelId="{325C8603-48D7-4E0C-877D-4C4D9AA75A4D}" type="pres">
      <dgm:prSet presAssocID="{DC61B0E3-0996-474E-B5BA-539380F8A6A7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06CB6107-90BD-46C9-AC37-59167C3A9722}" type="pres">
      <dgm:prSet presAssocID="{125DFB7A-77DC-449F-B59B-C24A5C39D568}" presName="parTrans" presStyleLbl="bgSibTrans2D1" presStyleIdx="5" presStyleCnt="7"/>
      <dgm:spPr/>
      <dgm:t>
        <a:bodyPr/>
        <a:lstStyle/>
        <a:p>
          <a:endParaRPr lang="pl-PL"/>
        </a:p>
      </dgm:t>
    </dgm:pt>
    <dgm:pt modelId="{66417737-BC89-4935-A92A-BAF84297C7A0}" type="pres">
      <dgm:prSet presAssocID="{40CD0BE7-68B0-44A4-AEB0-565C2F33DB89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FC7FE57-74DE-4CAD-BDB0-3C315F5CA8E3}" type="pres">
      <dgm:prSet presAssocID="{078258DF-C5FF-4F14-BDD3-A0913C53C2EC}" presName="parTrans" presStyleLbl="bgSibTrans2D1" presStyleIdx="6" presStyleCnt="7"/>
      <dgm:spPr/>
      <dgm:t>
        <a:bodyPr/>
        <a:lstStyle/>
        <a:p>
          <a:endParaRPr lang="pl-PL"/>
        </a:p>
      </dgm:t>
    </dgm:pt>
    <dgm:pt modelId="{416A76B7-3558-4FA1-BF74-B9C56345D1FD}" type="pres">
      <dgm:prSet presAssocID="{16A33C3B-EAB0-4448-A1F6-CA73BF18E8FD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C2A823DE-230B-4660-A637-D6A62678F981}" type="presOf" srcId="{57FC8412-772F-4E21-9924-B5D1BEF2B0A8}" destId="{0BD70FB5-FA81-4A19-8B08-A83AE9F66B62}" srcOrd="0" destOrd="0" presId="urn:microsoft.com/office/officeart/2005/8/layout/radial4"/>
    <dgm:cxn modelId="{6D28454F-5A57-4A5F-A758-C8EF86F8593E}" type="presOf" srcId="{16A33C3B-EAB0-4448-A1F6-CA73BF18E8FD}" destId="{416A76B7-3558-4FA1-BF74-B9C56345D1FD}" srcOrd="0" destOrd="0" presId="urn:microsoft.com/office/officeart/2005/8/layout/radial4"/>
    <dgm:cxn modelId="{ADD49EA8-3919-4EC3-97CB-362520930B23}" srcId="{F140A133-70A5-49DA-8A3D-5378678C704C}" destId="{1E7CD3C7-AF06-46D7-929A-3C30BA5E7D0A}" srcOrd="3" destOrd="0" parTransId="{3469F464-2B60-4815-8143-9C8205DC29B9}" sibTransId="{A24D98C4-187E-4D58-B04C-018574FBEC37}"/>
    <dgm:cxn modelId="{8C46194F-4F90-404B-BE70-569D29E9B802}" srcId="{F140A133-70A5-49DA-8A3D-5378678C704C}" destId="{5BA6231B-5883-4DD2-A97B-A637EE7586B6}" srcOrd="2" destOrd="0" parTransId="{66ADFD09-5BF7-4ACB-864B-DDE7CB644B2E}" sibTransId="{06A36D31-461B-4410-8BF7-6779F8B15367}"/>
    <dgm:cxn modelId="{0721F44A-C966-4F90-A9EF-C78D61B90B54}" type="presOf" srcId="{078258DF-C5FF-4F14-BDD3-A0913C53C2EC}" destId="{BFC7FE57-74DE-4CAD-BDB0-3C315F5CA8E3}" srcOrd="0" destOrd="0" presId="urn:microsoft.com/office/officeart/2005/8/layout/radial4"/>
    <dgm:cxn modelId="{9A9DF193-F85A-4005-8E34-9687011C5EEC}" type="presOf" srcId="{DC61B0E3-0996-474E-B5BA-539380F8A6A7}" destId="{325C8603-48D7-4E0C-877D-4C4D9AA75A4D}" srcOrd="0" destOrd="0" presId="urn:microsoft.com/office/officeart/2005/8/layout/radial4"/>
    <dgm:cxn modelId="{DE8F9D96-AF71-43C2-A37E-E812EF433D73}" srcId="{F140A133-70A5-49DA-8A3D-5378678C704C}" destId="{16A33C3B-EAB0-4448-A1F6-CA73BF18E8FD}" srcOrd="6" destOrd="0" parTransId="{078258DF-C5FF-4F14-BDD3-A0913C53C2EC}" sibTransId="{583C3BF7-673E-4FD6-8D8A-AA252A61AA35}"/>
    <dgm:cxn modelId="{2CC4749E-E4E8-499A-BD7B-BF1BD61B8A6D}" srcId="{F140A133-70A5-49DA-8A3D-5378678C704C}" destId="{DC61B0E3-0996-474E-B5BA-539380F8A6A7}" srcOrd="4" destOrd="0" parTransId="{1DF23416-5AEE-4261-8177-71744E3A0A31}" sibTransId="{F2D3BB8D-8492-4475-A74C-B51AE8374194}"/>
    <dgm:cxn modelId="{41A1F2F6-718B-43F6-8011-98413E4BBEFD}" type="presOf" srcId="{C25951B0-A10E-4914-ACDD-A5ABA0BD6B5F}" destId="{C8FF768B-CD45-4552-9C94-361BCC5D8A5F}" srcOrd="0" destOrd="0" presId="urn:microsoft.com/office/officeart/2005/8/layout/radial4"/>
    <dgm:cxn modelId="{A569D285-48DF-4B4C-AAAC-7AF163D9661C}" type="presOf" srcId="{F140A133-70A5-49DA-8A3D-5378678C704C}" destId="{01756CFB-E004-4762-B736-852788050C25}" srcOrd="0" destOrd="0" presId="urn:microsoft.com/office/officeart/2005/8/layout/radial4"/>
    <dgm:cxn modelId="{D707EFFF-1EFA-4635-AF16-0EC590549825}" srcId="{57FC8412-772F-4E21-9924-B5D1BEF2B0A8}" destId="{F140A133-70A5-49DA-8A3D-5378678C704C}" srcOrd="0" destOrd="0" parTransId="{034E0EAD-B6FE-4FDB-B29D-D366AB5E84FB}" sibTransId="{F26FA76A-BA2E-4F09-B59C-8AE21D3D5916}"/>
    <dgm:cxn modelId="{0D76C42F-FCDD-4C6B-9E9F-6B9B9C8306B3}" type="presOf" srcId="{66ADFD09-5BF7-4ACB-864B-DDE7CB644B2E}" destId="{99FB1F94-BD94-4527-ACD2-A65770D79467}" srcOrd="0" destOrd="0" presId="urn:microsoft.com/office/officeart/2005/8/layout/radial4"/>
    <dgm:cxn modelId="{61227F64-B49A-435C-8472-029798A8B0B9}" srcId="{57FC8412-772F-4E21-9924-B5D1BEF2B0A8}" destId="{F414DCAB-B133-4FCB-BC56-C206B514BEBF}" srcOrd="1" destOrd="0" parTransId="{1C77CDE8-CBB2-4F24-92AD-9CF7B2FEFC96}" sibTransId="{C8A06FE1-E786-43A7-BBE4-D24A6A7B520C}"/>
    <dgm:cxn modelId="{35B18F1A-7D0E-4A50-A1F1-39501A691929}" srcId="{F140A133-70A5-49DA-8A3D-5378678C704C}" destId="{172951EB-2132-4091-86F6-058BA2E76B0B}" srcOrd="0" destOrd="0" parTransId="{AD26157F-60FA-4141-A32C-EAD623606E50}" sibTransId="{C85F1621-DCAE-4ED0-8500-B44C917B6E15}"/>
    <dgm:cxn modelId="{4FA0709B-BCFE-456E-814F-20709DCB0CB6}" type="presOf" srcId="{40CD0BE7-68B0-44A4-AEB0-565C2F33DB89}" destId="{66417737-BC89-4935-A92A-BAF84297C7A0}" srcOrd="0" destOrd="0" presId="urn:microsoft.com/office/officeart/2005/8/layout/radial4"/>
    <dgm:cxn modelId="{7A56148D-B693-477E-B5F9-1EAE8265A06B}" type="presOf" srcId="{172951EB-2132-4091-86F6-058BA2E76B0B}" destId="{F7257014-B222-4C0D-9161-575E34C65912}" srcOrd="0" destOrd="0" presId="urn:microsoft.com/office/officeart/2005/8/layout/radial4"/>
    <dgm:cxn modelId="{E5359E4C-9BA4-4514-A4E6-AD55C4197797}" srcId="{F140A133-70A5-49DA-8A3D-5378678C704C}" destId="{40CD0BE7-68B0-44A4-AEB0-565C2F33DB89}" srcOrd="5" destOrd="0" parTransId="{125DFB7A-77DC-449F-B59B-C24A5C39D568}" sibTransId="{E1B70250-4FB0-4592-9ABC-9B91CA64E9A7}"/>
    <dgm:cxn modelId="{E63F42A4-0770-4500-BAC2-0000BC5E7E57}" type="presOf" srcId="{1DF23416-5AEE-4261-8177-71744E3A0A31}" destId="{36D7EFF9-C42B-431E-A571-A7EAA90EBECE}" srcOrd="0" destOrd="0" presId="urn:microsoft.com/office/officeart/2005/8/layout/radial4"/>
    <dgm:cxn modelId="{5696A10F-F87D-45CF-AEAD-6B35006ECE26}" type="presOf" srcId="{1E7CD3C7-AF06-46D7-929A-3C30BA5E7D0A}" destId="{D408FC49-DF9C-4163-9FCE-EFA1C686E43D}" srcOrd="0" destOrd="0" presId="urn:microsoft.com/office/officeart/2005/8/layout/radial4"/>
    <dgm:cxn modelId="{9E534E5C-7DD0-4F4C-90E1-3F071EEF0108}" srcId="{F140A133-70A5-49DA-8A3D-5378678C704C}" destId="{C25951B0-A10E-4914-ACDD-A5ABA0BD6B5F}" srcOrd="1" destOrd="0" parTransId="{4E271F13-C474-441D-A330-5D602F0815F8}" sibTransId="{63E63161-D4C2-4883-ABFD-4B7614FA6259}"/>
    <dgm:cxn modelId="{B348F802-FCA0-4D36-8FF3-E40EFEC90755}" type="presOf" srcId="{5BA6231B-5883-4DD2-A97B-A637EE7586B6}" destId="{8A87FA29-6C6C-4CC5-A6BE-87BE43DE65DB}" srcOrd="0" destOrd="0" presId="urn:microsoft.com/office/officeart/2005/8/layout/radial4"/>
    <dgm:cxn modelId="{345A499C-1C54-4903-8B19-A8BBD8BC5E47}" type="presOf" srcId="{3469F464-2B60-4815-8143-9C8205DC29B9}" destId="{DCF2CE9B-9E51-464E-91D5-55D2E7D3B071}" srcOrd="0" destOrd="0" presId="urn:microsoft.com/office/officeart/2005/8/layout/radial4"/>
    <dgm:cxn modelId="{B89E693A-7B6F-4384-B527-C7B210F31AEC}" type="presOf" srcId="{125DFB7A-77DC-449F-B59B-C24A5C39D568}" destId="{06CB6107-90BD-46C9-AC37-59167C3A9722}" srcOrd="0" destOrd="0" presId="urn:microsoft.com/office/officeart/2005/8/layout/radial4"/>
    <dgm:cxn modelId="{243D57D8-879D-4F97-8D73-703C05F17008}" type="presOf" srcId="{4E271F13-C474-441D-A330-5D602F0815F8}" destId="{230EC1E2-FFA3-4C1E-AE86-0C9FA948D102}" srcOrd="0" destOrd="0" presId="urn:microsoft.com/office/officeart/2005/8/layout/radial4"/>
    <dgm:cxn modelId="{5886E415-B40A-402A-8A27-B324D334D7D3}" type="presOf" srcId="{AD26157F-60FA-4141-A32C-EAD623606E50}" destId="{26C699C7-4871-4C69-9971-F5C1E8703EFF}" srcOrd="0" destOrd="0" presId="urn:microsoft.com/office/officeart/2005/8/layout/radial4"/>
    <dgm:cxn modelId="{076168DD-5F90-4A52-B58C-302554284C62}" type="presParOf" srcId="{0BD70FB5-FA81-4A19-8B08-A83AE9F66B62}" destId="{01756CFB-E004-4762-B736-852788050C25}" srcOrd="0" destOrd="0" presId="urn:microsoft.com/office/officeart/2005/8/layout/radial4"/>
    <dgm:cxn modelId="{727D7AC6-6FB2-410D-A0DF-BACE7D113CA8}" type="presParOf" srcId="{0BD70FB5-FA81-4A19-8B08-A83AE9F66B62}" destId="{26C699C7-4871-4C69-9971-F5C1E8703EFF}" srcOrd="1" destOrd="0" presId="urn:microsoft.com/office/officeart/2005/8/layout/radial4"/>
    <dgm:cxn modelId="{632DD26A-638F-4E78-9E4B-B2D7D1C29D87}" type="presParOf" srcId="{0BD70FB5-FA81-4A19-8B08-A83AE9F66B62}" destId="{F7257014-B222-4C0D-9161-575E34C65912}" srcOrd="2" destOrd="0" presId="urn:microsoft.com/office/officeart/2005/8/layout/radial4"/>
    <dgm:cxn modelId="{712E7868-FD60-4E6E-85B8-3D403C78CB07}" type="presParOf" srcId="{0BD70FB5-FA81-4A19-8B08-A83AE9F66B62}" destId="{230EC1E2-FFA3-4C1E-AE86-0C9FA948D102}" srcOrd="3" destOrd="0" presId="urn:microsoft.com/office/officeart/2005/8/layout/radial4"/>
    <dgm:cxn modelId="{2D02C5B3-3A19-45C1-ABB4-7C7D6829529E}" type="presParOf" srcId="{0BD70FB5-FA81-4A19-8B08-A83AE9F66B62}" destId="{C8FF768B-CD45-4552-9C94-361BCC5D8A5F}" srcOrd="4" destOrd="0" presId="urn:microsoft.com/office/officeart/2005/8/layout/radial4"/>
    <dgm:cxn modelId="{D10BB59C-EFD4-40F8-BF53-4020A94A8026}" type="presParOf" srcId="{0BD70FB5-FA81-4A19-8B08-A83AE9F66B62}" destId="{99FB1F94-BD94-4527-ACD2-A65770D79467}" srcOrd="5" destOrd="0" presId="urn:microsoft.com/office/officeart/2005/8/layout/radial4"/>
    <dgm:cxn modelId="{0862F71B-4192-4849-9C13-B53B3E46980E}" type="presParOf" srcId="{0BD70FB5-FA81-4A19-8B08-A83AE9F66B62}" destId="{8A87FA29-6C6C-4CC5-A6BE-87BE43DE65DB}" srcOrd="6" destOrd="0" presId="urn:microsoft.com/office/officeart/2005/8/layout/radial4"/>
    <dgm:cxn modelId="{CC75DD43-A8A0-437C-A5E2-B89BF1AB763C}" type="presParOf" srcId="{0BD70FB5-FA81-4A19-8B08-A83AE9F66B62}" destId="{DCF2CE9B-9E51-464E-91D5-55D2E7D3B071}" srcOrd="7" destOrd="0" presId="urn:microsoft.com/office/officeart/2005/8/layout/radial4"/>
    <dgm:cxn modelId="{020A7ED9-7B8B-4C66-9B66-52A757DD4421}" type="presParOf" srcId="{0BD70FB5-FA81-4A19-8B08-A83AE9F66B62}" destId="{D408FC49-DF9C-4163-9FCE-EFA1C686E43D}" srcOrd="8" destOrd="0" presId="urn:microsoft.com/office/officeart/2005/8/layout/radial4"/>
    <dgm:cxn modelId="{35E7192C-AAC1-4085-8CF4-798FBF7F7E04}" type="presParOf" srcId="{0BD70FB5-FA81-4A19-8B08-A83AE9F66B62}" destId="{36D7EFF9-C42B-431E-A571-A7EAA90EBECE}" srcOrd="9" destOrd="0" presId="urn:microsoft.com/office/officeart/2005/8/layout/radial4"/>
    <dgm:cxn modelId="{90679A53-F4F3-45E4-9F09-C68A2B008DB8}" type="presParOf" srcId="{0BD70FB5-FA81-4A19-8B08-A83AE9F66B62}" destId="{325C8603-48D7-4E0C-877D-4C4D9AA75A4D}" srcOrd="10" destOrd="0" presId="urn:microsoft.com/office/officeart/2005/8/layout/radial4"/>
    <dgm:cxn modelId="{74A049DC-91D6-434A-B752-85178BD24144}" type="presParOf" srcId="{0BD70FB5-FA81-4A19-8B08-A83AE9F66B62}" destId="{06CB6107-90BD-46C9-AC37-59167C3A9722}" srcOrd="11" destOrd="0" presId="urn:microsoft.com/office/officeart/2005/8/layout/radial4"/>
    <dgm:cxn modelId="{964E3646-123A-40F2-A5FA-DDCF1A02EBEC}" type="presParOf" srcId="{0BD70FB5-FA81-4A19-8B08-A83AE9F66B62}" destId="{66417737-BC89-4935-A92A-BAF84297C7A0}" srcOrd="12" destOrd="0" presId="urn:microsoft.com/office/officeart/2005/8/layout/radial4"/>
    <dgm:cxn modelId="{C167F040-2B29-48C4-9004-9523BF7C0B49}" type="presParOf" srcId="{0BD70FB5-FA81-4A19-8B08-A83AE9F66B62}" destId="{BFC7FE57-74DE-4CAD-BDB0-3C315F5CA8E3}" srcOrd="13" destOrd="0" presId="urn:microsoft.com/office/officeart/2005/8/layout/radial4"/>
    <dgm:cxn modelId="{F5A9CBC2-DDD8-4FDA-B7A0-B1A4AF4579A6}" type="presParOf" srcId="{0BD70FB5-FA81-4A19-8B08-A83AE9F66B62}" destId="{416A76B7-3558-4FA1-BF74-B9C56345D1FD}" srcOrd="1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002075D-632A-42D5-97BF-C53461A5AE93}" type="doc">
      <dgm:prSet loTypeId="urn:microsoft.com/office/officeart/2005/8/layout/balance1" loCatId="relationship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pl-PL"/>
        </a:p>
      </dgm:t>
    </dgm:pt>
    <dgm:pt modelId="{507A28CF-FF85-45E4-A883-06F9FA7CC150}">
      <dgm:prSet/>
      <dgm:spPr/>
      <dgm:t>
        <a:bodyPr/>
        <a:lstStyle/>
        <a:p>
          <a:pPr rtl="0"/>
          <a:r>
            <a:rPr lang="pl-PL" dirty="0" smtClean="0"/>
            <a:t>Liderzy</a:t>
          </a:r>
          <a:endParaRPr lang="pl-PL" dirty="0"/>
        </a:p>
      </dgm:t>
    </dgm:pt>
    <dgm:pt modelId="{974467EB-104F-49B0-84C1-2A43765F80D0}" type="parTrans" cxnId="{2C71A831-452E-4719-B743-2BF233A06F17}">
      <dgm:prSet/>
      <dgm:spPr/>
      <dgm:t>
        <a:bodyPr/>
        <a:lstStyle/>
        <a:p>
          <a:endParaRPr lang="pl-PL"/>
        </a:p>
      </dgm:t>
    </dgm:pt>
    <dgm:pt modelId="{FACB353F-2615-488E-8BB4-5A74F82A7265}" type="sibTrans" cxnId="{2C71A831-452E-4719-B743-2BF233A06F17}">
      <dgm:prSet/>
      <dgm:spPr/>
      <dgm:t>
        <a:bodyPr/>
        <a:lstStyle/>
        <a:p>
          <a:endParaRPr lang="pl-PL"/>
        </a:p>
      </dgm:t>
    </dgm:pt>
    <dgm:pt modelId="{BE36480B-7F17-41E3-8E43-241FC34BDF47}">
      <dgm:prSet/>
      <dgm:spPr/>
      <dgm:t>
        <a:bodyPr/>
        <a:lstStyle/>
        <a:p>
          <a:pPr rtl="0"/>
          <a:r>
            <a:rPr lang="pl-PL" dirty="0" smtClean="0"/>
            <a:t>KIS 8 (765)  BUD</a:t>
          </a:r>
          <a:endParaRPr lang="pl-PL" dirty="0"/>
        </a:p>
      </dgm:t>
    </dgm:pt>
    <dgm:pt modelId="{FE754BCB-E000-4C0B-85BC-A2EAABB8BDE1}" type="parTrans" cxnId="{1000151D-8B61-4EEF-890A-F4094F610BA3}">
      <dgm:prSet/>
      <dgm:spPr/>
      <dgm:t>
        <a:bodyPr/>
        <a:lstStyle/>
        <a:p>
          <a:endParaRPr lang="pl-PL"/>
        </a:p>
      </dgm:t>
    </dgm:pt>
    <dgm:pt modelId="{F3FE81E8-8A42-40E9-8459-FCE6C8CACC49}" type="sibTrans" cxnId="{1000151D-8B61-4EEF-890A-F4094F610BA3}">
      <dgm:prSet/>
      <dgm:spPr/>
      <dgm:t>
        <a:bodyPr/>
        <a:lstStyle/>
        <a:p>
          <a:endParaRPr lang="pl-PL"/>
        </a:p>
      </dgm:t>
    </dgm:pt>
    <dgm:pt modelId="{9C2D3D68-485E-4D24-896F-D3EFA1C585CD}">
      <dgm:prSet/>
      <dgm:spPr/>
      <dgm:t>
        <a:bodyPr/>
        <a:lstStyle/>
        <a:p>
          <a:pPr rtl="0"/>
          <a:r>
            <a:rPr lang="pl-PL" dirty="0" smtClean="0"/>
            <a:t>KIS 19 (804) ITK</a:t>
          </a:r>
          <a:endParaRPr lang="pl-PL" dirty="0"/>
        </a:p>
      </dgm:t>
    </dgm:pt>
    <dgm:pt modelId="{1710D416-B8E9-4335-85FC-E7AE1AB453B1}" type="parTrans" cxnId="{CEBA6452-0D4D-4C1B-AF11-64639E91BE56}">
      <dgm:prSet/>
      <dgm:spPr/>
      <dgm:t>
        <a:bodyPr/>
        <a:lstStyle/>
        <a:p>
          <a:endParaRPr lang="pl-PL"/>
        </a:p>
      </dgm:t>
    </dgm:pt>
    <dgm:pt modelId="{2102072F-7179-4EAC-9306-6D2F396D327F}" type="sibTrans" cxnId="{CEBA6452-0D4D-4C1B-AF11-64639E91BE56}">
      <dgm:prSet/>
      <dgm:spPr/>
      <dgm:t>
        <a:bodyPr/>
        <a:lstStyle/>
        <a:p>
          <a:endParaRPr lang="pl-PL"/>
        </a:p>
      </dgm:t>
    </dgm:pt>
    <dgm:pt modelId="{79B2C73B-EE74-4AA3-BE56-F5979140E736}">
      <dgm:prSet/>
      <dgm:spPr/>
      <dgm:t>
        <a:bodyPr/>
        <a:lstStyle/>
        <a:p>
          <a:pPr rtl="0"/>
          <a:r>
            <a:rPr lang="pl-PL" dirty="0" smtClean="0"/>
            <a:t>KIS 17 (954) ROB</a:t>
          </a:r>
          <a:endParaRPr lang="pl-PL" dirty="0"/>
        </a:p>
      </dgm:t>
    </dgm:pt>
    <dgm:pt modelId="{FD1C1028-5C1A-4A26-B92C-EC7F5133049B}" type="parTrans" cxnId="{27047B20-839B-4CF0-8CB6-013B02E271DF}">
      <dgm:prSet/>
      <dgm:spPr/>
      <dgm:t>
        <a:bodyPr/>
        <a:lstStyle/>
        <a:p>
          <a:endParaRPr lang="pl-PL"/>
        </a:p>
      </dgm:t>
    </dgm:pt>
    <dgm:pt modelId="{1E11FDFC-4995-43B0-B6B9-AD274BDB0BFD}" type="sibTrans" cxnId="{27047B20-839B-4CF0-8CB6-013B02E271DF}">
      <dgm:prSet/>
      <dgm:spPr/>
      <dgm:t>
        <a:bodyPr/>
        <a:lstStyle/>
        <a:p>
          <a:endParaRPr lang="pl-PL"/>
        </a:p>
      </dgm:t>
    </dgm:pt>
    <dgm:pt modelId="{DA67F026-2491-4AB9-A9C0-3D5B414C3730}">
      <dgm:prSet/>
      <dgm:spPr/>
      <dgm:t>
        <a:bodyPr/>
        <a:lstStyle/>
        <a:p>
          <a:pPr rtl="0"/>
          <a:r>
            <a:rPr lang="pl-PL" dirty="0" smtClean="0"/>
            <a:t>KIS 15 (1038) GEO</a:t>
          </a:r>
          <a:endParaRPr lang="pl-PL" dirty="0"/>
        </a:p>
      </dgm:t>
    </dgm:pt>
    <dgm:pt modelId="{535EAB49-34DB-4BC4-B03B-543704E487B6}" type="parTrans" cxnId="{6056AFAE-8DC8-42AC-A642-128D3D492B50}">
      <dgm:prSet/>
      <dgm:spPr/>
      <dgm:t>
        <a:bodyPr/>
        <a:lstStyle/>
        <a:p>
          <a:endParaRPr lang="pl-PL"/>
        </a:p>
      </dgm:t>
    </dgm:pt>
    <dgm:pt modelId="{1CDEAB7D-7133-419D-8526-A1B0B2C7C388}" type="sibTrans" cxnId="{6056AFAE-8DC8-42AC-A642-128D3D492B50}">
      <dgm:prSet/>
      <dgm:spPr/>
      <dgm:t>
        <a:bodyPr/>
        <a:lstStyle/>
        <a:p>
          <a:endParaRPr lang="pl-PL"/>
        </a:p>
      </dgm:t>
    </dgm:pt>
    <dgm:pt modelId="{96A246D2-EDF1-4924-AE54-351E6E6DEC31}">
      <dgm:prSet/>
      <dgm:spPr/>
      <dgm:t>
        <a:bodyPr/>
        <a:lstStyle/>
        <a:p>
          <a:pPr rtl="0"/>
          <a:r>
            <a:rPr lang="pl-PL" dirty="0" smtClean="0"/>
            <a:t>Maruderzy</a:t>
          </a:r>
          <a:endParaRPr lang="pl-PL" dirty="0"/>
        </a:p>
      </dgm:t>
    </dgm:pt>
    <dgm:pt modelId="{F2450499-E4B1-4747-B5F4-6B887DC60037}" type="parTrans" cxnId="{C2DC90BC-28EC-4571-8C80-4DA027784C7E}">
      <dgm:prSet/>
      <dgm:spPr/>
      <dgm:t>
        <a:bodyPr/>
        <a:lstStyle/>
        <a:p>
          <a:endParaRPr lang="pl-PL"/>
        </a:p>
      </dgm:t>
    </dgm:pt>
    <dgm:pt modelId="{29651DA7-14E3-4DA4-ABA3-8BA52FE2FFCD}" type="sibTrans" cxnId="{C2DC90BC-28EC-4571-8C80-4DA027784C7E}">
      <dgm:prSet/>
      <dgm:spPr/>
      <dgm:t>
        <a:bodyPr/>
        <a:lstStyle/>
        <a:p>
          <a:endParaRPr lang="pl-PL"/>
        </a:p>
      </dgm:t>
    </dgm:pt>
    <dgm:pt modelId="{7D511EDA-2FAC-4995-8AC6-45840F0BC048}">
      <dgm:prSet/>
      <dgm:spPr/>
      <dgm:t>
        <a:bodyPr/>
        <a:lstStyle/>
        <a:p>
          <a:pPr rtl="0"/>
          <a:r>
            <a:rPr lang="pl-PL" dirty="0" smtClean="0"/>
            <a:t>KIS  18 (86) FOTONIKA</a:t>
          </a:r>
          <a:endParaRPr lang="pl-PL" dirty="0"/>
        </a:p>
      </dgm:t>
    </dgm:pt>
    <dgm:pt modelId="{695EAB8A-C245-4178-9112-5921608FA5DF}" type="parTrans" cxnId="{894795AA-3101-4D26-80BD-5A9D772E0F43}">
      <dgm:prSet/>
      <dgm:spPr/>
      <dgm:t>
        <a:bodyPr/>
        <a:lstStyle/>
        <a:p>
          <a:endParaRPr lang="pl-PL"/>
        </a:p>
      </dgm:t>
    </dgm:pt>
    <dgm:pt modelId="{8563C982-D28D-40BF-AA49-B2D4B8DBDD9B}" type="sibTrans" cxnId="{894795AA-3101-4D26-80BD-5A9D772E0F43}">
      <dgm:prSet/>
      <dgm:spPr/>
      <dgm:t>
        <a:bodyPr/>
        <a:lstStyle/>
        <a:p>
          <a:endParaRPr lang="pl-PL"/>
        </a:p>
      </dgm:t>
    </dgm:pt>
    <dgm:pt modelId="{22EAE122-28EF-4B4F-A38C-C91DA5F6563B}">
      <dgm:prSet/>
      <dgm:spPr/>
      <dgm:t>
        <a:bodyPr/>
        <a:lstStyle/>
        <a:p>
          <a:pPr rtl="0"/>
          <a:r>
            <a:rPr lang="pl-PL" dirty="0" smtClean="0"/>
            <a:t>KIS 16(61) (ELE)</a:t>
          </a:r>
          <a:endParaRPr lang="pl-PL" dirty="0"/>
        </a:p>
      </dgm:t>
    </dgm:pt>
    <dgm:pt modelId="{B8C406CD-96C9-4B40-9BB0-CB812533E036}" type="parTrans" cxnId="{212EB448-0D8B-4760-8BA3-96B6BF57D553}">
      <dgm:prSet/>
      <dgm:spPr/>
      <dgm:t>
        <a:bodyPr/>
        <a:lstStyle/>
        <a:p>
          <a:endParaRPr lang="pl-PL"/>
        </a:p>
      </dgm:t>
    </dgm:pt>
    <dgm:pt modelId="{0B16B4A8-5104-47F1-A439-6ADAE418FB46}" type="sibTrans" cxnId="{212EB448-0D8B-4760-8BA3-96B6BF57D553}">
      <dgm:prSet/>
      <dgm:spPr/>
      <dgm:t>
        <a:bodyPr/>
        <a:lstStyle/>
        <a:p>
          <a:endParaRPr lang="pl-PL"/>
        </a:p>
      </dgm:t>
    </dgm:pt>
    <dgm:pt modelId="{4283D44E-F289-4255-8A5A-A0D100785DE8}">
      <dgm:prSet/>
      <dgm:spPr/>
      <dgm:t>
        <a:bodyPr/>
        <a:lstStyle/>
        <a:p>
          <a:pPr rtl="0"/>
          <a:r>
            <a:rPr lang="pl-PL" dirty="0" smtClean="0"/>
            <a:t>KIS 20 (57) (ITM) </a:t>
          </a:r>
          <a:endParaRPr lang="pl-PL" dirty="0"/>
        </a:p>
      </dgm:t>
    </dgm:pt>
    <dgm:pt modelId="{092CDDFA-DAA7-40C3-B6A6-292DFD7F0858}" type="parTrans" cxnId="{A4F485AE-3393-4F04-8E11-7E3B0C7AC374}">
      <dgm:prSet/>
      <dgm:spPr/>
      <dgm:t>
        <a:bodyPr/>
        <a:lstStyle/>
        <a:p>
          <a:endParaRPr lang="pl-PL"/>
        </a:p>
      </dgm:t>
    </dgm:pt>
    <dgm:pt modelId="{BD2C42BE-F7D2-4B7C-9271-AFC9B92FDDC6}" type="sibTrans" cxnId="{A4F485AE-3393-4F04-8E11-7E3B0C7AC374}">
      <dgm:prSet/>
      <dgm:spPr/>
      <dgm:t>
        <a:bodyPr/>
        <a:lstStyle/>
        <a:p>
          <a:endParaRPr lang="pl-PL"/>
        </a:p>
      </dgm:t>
    </dgm:pt>
    <dgm:pt modelId="{E6642458-E2D2-4930-8518-F596F809FE3A}" type="pres">
      <dgm:prSet presAssocID="{2002075D-632A-42D5-97BF-C53461A5AE93}" presName="outerComposite" presStyleCnt="0">
        <dgm:presLayoutVars>
          <dgm:chMax val="2"/>
          <dgm:animLvl val="lvl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76037207-E152-4968-ACE1-DF48F07E8719}" type="pres">
      <dgm:prSet presAssocID="{2002075D-632A-42D5-97BF-C53461A5AE93}" presName="dummyMaxCanvas" presStyleCnt="0"/>
      <dgm:spPr/>
    </dgm:pt>
    <dgm:pt modelId="{6F29B998-36A6-4CB6-AD0B-A0698DB15A2A}" type="pres">
      <dgm:prSet presAssocID="{2002075D-632A-42D5-97BF-C53461A5AE93}" presName="parentComposite" presStyleCnt="0"/>
      <dgm:spPr/>
    </dgm:pt>
    <dgm:pt modelId="{A85212F1-30E1-4966-BD1D-3DFC060ACE0C}" type="pres">
      <dgm:prSet presAssocID="{2002075D-632A-42D5-97BF-C53461A5AE93}" presName="parent1" presStyleLbl="alignAccFollowNode1" presStyleIdx="0" presStyleCnt="4">
        <dgm:presLayoutVars>
          <dgm:chMax val="4"/>
        </dgm:presLayoutVars>
      </dgm:prSet>
      <dgm:spPr/>
      <dgm:t>
        <a:bodyPr/>
        <a:lstStyle/>
        <a:p>
          <a:endParaRPr lang="pl-PL"/>
        </a:p>
      </dgm:t>
    </dgm:pt>
    <dgm:pt modelId="{DA7CC531-22B4-4CD8-B050-B97A0DD52BD2}" type="pres">
      <dgm:prSet presAssocID="{2002075D-632A-42D5-97BF-C53461A5AE93}" presName="parent2" presStyleLbl="alignAccFollowNode1" presStyleIdx="1" presStyleCnt="4">
        <dgm:presLayoutVars>
          <dgm:chMax val="4"/>
        </dgm:presLayoutVars>
      </dgm:prSet>
      <dgm:spPr/>
      <dgm:t>
        <a:bodyPr/>
        <a:lstStyle/>
        <a:p>
          <a:endParaRPr lang="pl-PL"/>
        </a:p>
      </dgm:t>
    </dgm:pt>
    <dgm:pt modelId="{364E5810-3C7C-47DC-9B53-61D3F00CC4DC}" type="pres">
      <dgm:prSet presAssocID="{2002075D-632A-42D5-97BF-C53461A5AE93}" presName="childrenComposite" presStyleCnt="0"/>
      <dgm:spPr/>
    </dgm:pt>
    <dgm:pt modelId="{8243D860-55BC-468C-B867-A48A70A41E1E}" type="pres">
      <dgm:prSet presAssocID="{2002075D-632A-42D5-97BF-C53461A5AE93}" presName="dummyMaxCanvas_ChildArea" presStyleCnt="0"/>
      <dgm:spPr/>
    </dgm:pt>
    <dgm:pt modelId="{A3E5684F-E7C0-4405-BA6E-0221DA9223F8}" type="pres">
      <dgm:prSet presAssocID="{2002075D-632A-42D5-97BF-C53461A5AE93}" presName="fulcrum" presStyleLbl="alignAccFollowNode1" presStyleIdx="2" presStyleCnt="4" custLinFactNeighborX="-228" custLinFactNeighborY="42189"/>
      <dgm:spPr/>
    </dgm:pt>
    <dgm:pt modelId="{3D1DFB3A-B1A5-4FDF-A878-28EBECCFA7B7}" type="pres">
      <dgm:prSet presAssocID="{2002075D-632A-42D5-97BF-C53461A5AE93}" presName="balance_43" presStyleLbl="alignAccFollowNode1" presStyleIdx="3" presStyleCnt="4" custAng="1190743" custScaleY="133969" custLinFactNeighborX="1366" custLinFactNeighborY="61971">
        <dgm:presLayoutVars>
          <dgm:bulletEnabled val="1"/>
        </dgm:presLayoutVars>
      </dgm:prSet>
      <dgm:spPr/>
    </dgm:pt>
    <dgm:pt modelId="{E3137E24-6C86-49A2-B9DD-0E7247E38DD8}" type="pres">
      <dgm:prSet presAssocID="{2002075D-632A-42D5-97BF-C53461A5AE93}" presName="left_43_1" presStyleLbl="node1" presStyleIdx="0" presStyleCnt="7" custLinFactNeighborX="2869" custLinFactNeighborY="-3466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FA3EC5A-51B7-4BA5-AD80-CB16BD278CD2}" type="pres">
      <dgm:prSet presAssocID="{2002075D-632A-42D5-97BF-C53461A5AE93}" presName="left_43_2" presStyleLbl="node1" presStyleIdx="1" presStyleCnt="7" custLinFactNeighborX="1638" custLinFactNeighborY="-3360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5AF6B27-FDC3-4D77-B41A-31281049FA98}" type="pres">
      <dgm:prSet presAssocID="{2002075D-632A-42D5-97BF-C53461A5AE93}" presName="left_43_3" presStyleLbl="node1" presStyleIdx="2" presStyleCnt="7" custLinFactNeighborX="407" custLinFactNeighborY="-32550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2F7A8BA-F233-4100-86E7-A86B1EBCDD06}" type="pres">
      <dgm:prSet presAssocID="{2002075D-632A-42D5-97BF-C53461A5AE93}" presName="left_43_4" presStyleLbl="node1" presStyleIdx="3" presStyleCnt="7" custLinFactNeighborX="-824" custLinFactNeighborY="-31492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F4CE5E76-DD84-40A4-A688-EA1782B3EC41}" type="pres">
      <dgm:prSet presAssocID="{2002075D-632A-42D5-97BF-C53461A5AE93}" presName="right_43_1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4DABE77-EF1C-47D7-BEFD-F839E9F728E0}" type="pres">
      <dgm:prSet presAssocID="{2002075D-632A-42D5-97BF-C53461A5AE93}" presName="right_43_2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F23232DB-F0E7-4C79-8D01-F6484521FC26}" type="pres">
      <dgm:prSet presAssocID="{2002075D-632A-42D5-97BF-C53461A5AE93}" presName="right_43_3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894795AA-3101-4D26-80BD-5A9D772E0F43}" srcId="{96A246D2-EDF1-4924-AE54-351E6E6DEC31}" destId="{7D511EDA-2FAC-4995-8AC6-45840F0BC048}" srcOrd="0" destOrd="0" parTransId="{695EAB8A-C245-4178-9112-5921608FA5DF}" sibTransId="{8563C982-D28D-40BF-AA49-B2D4B8DBDD9B}"/>
    <dgm:cxn modelId="{1B2F85DE-3519-4474-B5BA-A042AE9529FD}" type="presOf" srcId="{DA67F026-2491-4AB9-A9C0-3D5B414C3730}" destId="{E2F7A8BA-F233-4100-86E7-A86B1EBCDD06}" srcOrd="0" destOrd="0" presId="urn:microsoft.com/office/officeart/2005/8/layout/balance1"/>
    <dgm:cxn modelId="{B6541272-AA3D-4274-A36E-625206916D9F}" type="presOf" srcId="{9C2D3D68-485E-4D24-896F-D3EFA1C585CD}" destId="{5FA3EC5A-51B7-4BA5-AD80-CB16BD278CD2}" srcOrd="0" destOrd="0" presId="urn:microsoft.com/office/officeart/2005/8/layout/balance1"/>
    <dgm:cxn modelId="{212EB448-0D8B-4760-8BA3-96B6BF57D553}" srcId="{96A246D2-EDF1-4924-AE54-351E6E6DEC31}" destId="{22EAE122-28EF-4B4F-A38C-C91DA5F6563B}" srcOrd="1" destOrd="0" parTransId="{B8C406CD-96C9-4B40-9BB0-CB812533E036}" sibTransId="{0B16B4A8-5104-47F1-A439-6ADAE418FB46}"/>
    <dgm:cxn modelId="{6FBAD988-AD51-494E-8E94-D923B6883C21}" type="presOf" srcId="{4283D44E-F289-4255-8A5A-A0D100785DE8}" destId="{F23232DB-F0E7-4C79-8D01-F6484521FC26}" srcOrd="0" destOrd="0" presId="urn:microsoft.com/office/officeart/2005/8/layout/balance1"/>
    <dgm:cxn modelId="{9625ED0B-386D-494B-8315-90CF640DCDEC}" type="presOf" srcId="{BE36480B-7F17-41E3-8E43-241FC34BDF47}" destId="{E3137E24-6C86-49A2-B9DD-0E7247E38DD8}" srcOrd="0" destOrd="0" presId="urn:microsoft.com/office/officeart/2005/8/layout/balance1"/>
    <dgm:cxn modelId="{CEBA6452-0D4D-4C1B-AF11-64639E91BE56}" srcId="{507A28CF-FF85-45E4-A883-06F9FA7CC150}" destId="{9C2D3D68-485E-4D24-896F-D3EFA1C585CD}" srcOrd="1" destOrd="0" parTransId="{1710D416-B8E9-4335-85FC-E7AE1AB453B1}" sibTransId="{2102072F-7179-4EAC-9306-6D2F396D327F}"/>
    <dgm:cxn modelId="{27047B20-839B-4CF0-8CB6-013B02E271DF}" srcId="{507A28CF-FF85-45E4-A883-06F9FA7CC150}" destId="{79B2C73B-EE74-4AA3-BE56-F5979140E736}" srcOrd="2" destOrd="0" parTransId="{FD1C1028-5C1A-4A26-B92C-EC7F5133049B}" sibTransId="{1E11FDFC-4995-43B0-B6B9-AD274BDB0BFD}"/>
    <dgm:cxn modelId="{6C73CEDC-D1AA-4FEA-A6C1-8F6990077CF5}" type="presOf" srcId="{7D511EDA-2FAC-4995-8AC6-45840F0BC048}" destId="{F4CE5E76-DD84-40A4-A688-EA1782B3EC41}" srcOrd="0" destOrd="0" presId="urn:microsoft.com/office/officeart/2005/8/layout/balance1"/>
    <dgm:cxn modelId="{09E2073B-2377-4409-92CD-5BE5F83C798C}" type="presOf" srcId="{2002075D-632A-42D5-97BF-C53461A5AE93}" destId="{E6642458-E2D2-4930-8518-F596F809FE3A}" srcOrd="0" destOrd="0" presId="urn:microsoft.com/office/officeart/2005/8/layout/balance1"/>
    <dgm:cxn modelId="{6056AFAE-8DC8-42AC-A642-128D3D492B50}" srcId="{507A28CF-FF85-45E4-A883-06F9FA7CC150}" destId="{DA67F026-2491-4AB9-A9C0-3D5B414C3730}" srcOrd="3" destOrd="0" parTransId="{535EAB49-34DB-4BC4-B03B-543704E487B6}" sibTransId="{1CDEAB7D-7133-419D-8526-A1B0B2C7C388}"/>
    <dgm:cxn modelId="{6FBED0E3-9C90-4AD5-916C-4F8DEE00007D}" type="presOf" srcId="{22EAE122-28EF-4B4F-A38C-C91DA5F6563B}" destId="{A4DABE77-EF1C-47D7-BEFD-F839E9F728E0}" srcOrd="0" destOrd="0" presId="urn:microsoft.com/office/officeart/2005/8/layout/balance1"/>
    <dgm:cxn modelId="{308D970A-BDA8-4D0B-8EAF-FDBE1503DEA5}" type="presOf" srcId="{507A28CF-FF85-45E4-A883-06F9FA7CC150}" destId="{A85212F1-30E1-4966-BD1D-3DFC060ACE0C}" srcOrd="0" destOrd="0" presId="urn:microsoft.com/office/officeart/2005/8/layout/balance1"/>
    <dgm:cxn modelId="{A4F485AE-3393-4F04-8E11-7E3B0C7AC374}" srcId="{96A246D2-EDF1-4924-AE54-351E6E6DEC31}" destId="{4283D44E-F289-4255-8A5A-A0D100785DE8}" srcOrd="2" destOrd="0" parTransId="{092CDDFA-DAA7-40C3-B6A6-292DFD7F0858}" sibTransId="{BD2C42BE-F7D2-4B7C-9271-AFC9B92FDDC6}"/>
    <dgm:cxn modelId="{57938DFF-16AF-46B6-98D9-675A5830C07C}" type="presOf" srcId="{96A246D2-EDF1-4924-AE54-351E6E6DEC31}" destId="{DA7CC531-22B4-4CD8-B050-B97A0DD52BD2}" srcOrd="0" destOrd="0" presId="urn:microsoft.com/office/officeart/2005/8/layout/balance1"/>
    <dgm:cxn modelId="{2C71A831-452E-4719-B743-2BF233A06F17}" srcId="{2002075D-632A-42D5-97BF-C53461A5AE93}" destId="{507A28CF-FF85-45E4-A883-06F9FA7CC150}" srcOrd="0" destOrd="0" parTransId="{974467EB-104F-49B0-84C1-2A43765F80D0}" sibTransId="{FACB353F-2615-488E-8BB4-5A74F82A7265}"/>
    <dgm:cxn modelId="{C2DC90BC-28EC-4571-8C80-4DA027784C7E}" srcId="{2002075D-632A-42D5-97BF-C53461A5AE93}" destId="{96A246D2-EDF1-4924-AE54-351E6E6DEC31}" srcOrd="1" destOrd="0" parTransId="{F2450499-E4B1-4747-B5F4-6B887DC60037}" sibTransId="{29651DA7-14E3-4DA4-ABA3-8BA52FE2FFCD}"/>
    <dgm:cxn modelId="{1000151D-8B61-4EEF-890A-F4094F610BA3}" srcId="{507A28CF-FF85-45E4-A883-06F9FA7CC150}" destId="{BE36480B-7F17-41E3-8E43-241FC34BDF47}" srcOrd="0" destOrd="0" parTransId="{FE754BCB-E000-4C0B-85BC-A2EAABB8BDE1}" sibTransId="{F3FE81E8-8A42-40E9-8459-FCE6C8CACC49}"/>
    <dgm:cxn modelId="{9FD577F4-DAC2-4527-A020-F92ACCEC505F}" type="presOf" srcId="{79B2C73B-EE74-4AA3-BE56-F5979140E736}" destId="{B5AF6B27-FDC3-4D77-B41A-31281049FA98}" srcOrd="0" destOrd="0" presId="urn:microsoft.com/office/officeart/2005/8/layout/balance1"/>
    <dgm:cxn modelId="{3EA1F3B1-33A7-480C-A938-549130B69666}" type="presParOf" srcId="{E6642458-E2D2-4930-8518-F596F809FE3A}" destId="{76037207-E152-4968-ACE1-DF48F07E8719}" srcOrd="0" destOrd="0" presId="urn:microsoft.com/office/officeart/2005/8/layout/balance1"/>
    <dgm:cxn modelId="{4BDCC0C3-2453-430F-9D2E-7608B55C60ED}" type="presParOf" srcId="{E6642458-E2D2-4930-8518-F596F809FE3A}" destId="{6F29B998-36A6-4CB6-AD0B-A0698DB15A2A}" srcOrd="1" destOrd="0" presId="urn:microsoft.com/office/officeart/2005/8/layout/balance1"/>
    <dgm:cxn modelId="{E1556B4D-8750-4AFA-8B61-3BD1A1337B5F}" type="presParOf" srcId="{6F29B998-36A6-4CB6-AD0B-A0698DB15A2A}" destId="{A85212F1-30E1-4966-BD1D-3DFC060ACE0C}" srcOrd="0" destOrd="0" presId="urn:microsoft.com/office/officeart/2005/8/layout/balance1"/>
    <dgm:cxn modelId="{132B93C2-5D24-4175-ACF0-379C8469D945}" type="presParOf" srcId="{6F29B998-36A6-4CB6-AD0B-A0698DB15A2A}" destId="{DA7CC531-22B4-4CD8-B050-B97A0DD52BD2}" srcOrd="1" destOrd="0" presId="urn:microsoft.com/office/officeart/2005/8/layout/balance1"/>
    <dgm:cxn modelId="{DD929244-5ABA-421E-B256-ABC9525E13A1}" type="presParOf" srcId="{E6642458-E2D2-4930-8518-F596F809FE3A}" destId="{364E5810-3C7C-47DC-9B53-61D3F00CC4DC}" srcOrd="2" destOrd="0" presId="urn:microsoft.com/office/officeart/2005/8/layout/balance1"/>
    <dgm:cxn modelId="{6C8C650C-6A99-4F6E-BBD8-2DC3E952F275}" type="presParOf" srcId="{364E5810-3C7C-47DC-9B53-61D3F00CC4DC}" destId="{8243D860-55BC-468C-B867-A48A70A41E1E}" srcOrd="0" destOrd="0" presId="urn:microsoft.com/office/officeart/2005/8/layout/balance1"/>
    <dgm:cxn modelId="{7DDB0EEB-D54E-4188-B7BA-95C849AA1B16}" type="presParOf" srcId="{364E5810-3C7C-47DC-9B53-61D3F00CC4DC}" destId="{A3E5684F-E7C0-4405-BA6E-0221DA9223F8}" srcOrd="1" destOrd="0" presId="urn:microsoft.com/office/officeart/2005/8/layout/balance1"/>
    <dgm:cxn modelId="{A3B27C41-1AA6-4C06-BA56-8FA8B7D2F702}" type="presParOf" srcId="{364E5810-3C7C-47DC-9B53-61D3F00CC4DC}" destId="{3D1DFB3A-B1A5-4FDF-A878-28EBECCFA7B7}" srcOrd="2" destOrd="0" presId="urn:microsoft.com/office/officeart/2005/8/layout/balance1"/>
    <dgm:cxn modelId="{1EE8129F-6164-4D56-9F27-A6188B4BEA64}" type="presParOf" srcId="{364E5810-3C7C-47DC-9B53-61D3F00CC4DC}" destId="{E3137E24-6C86-49A2-B9DD-0E7247E38DD8}" srcOrd="3" destOrd="0" presId="urn:microsoft.com/office/officeart/2005/8/layout/balance1"/>
    <dgm:cxn modelId="{B5BA4F4C-D42B-4529-9ABD-B6F49E2ECEBC}" type="presParOf" srcId="{364E5810-3C7C-47DC-9B53-61D3F00CC4DC}" destId="{5FA3EC5A-51B7-4BA5-AD80-CB16BD278CD2}" srcOrd="4" destOrd="0" presId="urn:microsoft.com/office/officeart/2005/8/layout/balance1"/>
    <dgm:cxn modelId="{FC75000A-2A2F-43C4-90BB-A8EB5C309B9F}" type="presParOf" srcId="{364E5810-3C7C-47DC-9B53-61D3F00CC4DC}" destId="{B5AF6B27-FDC3-4D77-B41A-31281049FA98}" srcOrd="5" destOrd="0" presId="urn:microsoft.com/office/officeart/2005/8/layout/balance1"/>
    <dgm:cxn modelId="{F6064F2C-5479-4551-B6BD-3D3846B16B68}" type="presParOf" srcId="{364E5810-3C7C-47DC-9B53-61D3F00CC4DC}" destId="{E2F7A8BA-F233-4100-86E7-A86B1EBCDD06}" srcOrd="6" destOrd="0" presId="urn:microsoft.com/office/officeart/2005/8/layout/balance1"/>
    <dgm:cxn modelId="{22322937-0C19-44D5-9C6C-F7A3D1327920}" type="presParOf" srcId="{364E5810-3C7C-47DC-9B53-61D3F00CC4DC}" destId="{F4CE5E76-DD84-40A4-A688-EA1782B3EC41}" srcOrd="7" destOrd="0" presId="urn:microsoft.com/office/officeart/2005/8/layout/balance1"/>
    <dgm:cxn modelId="{04BF3E42-7E2A-4410-AAC3-2EEFC7A1FF73}" type="presParOf" srcId="{364E5810-3C7C-47DC-9B53-61D3F00CC4DC}" destId="{A4DABE77-EF1C-47D7-BEFD-F839E9F728E0}" srcOrd="8" destOrd="0" presId="urn:microsoft.com/office/officeart/2005/8/layout/balance1"/>
    <dgm:cxn modelId="{83BF0E5F-3E8F-4FC7-874C-94FCF2FC7141}" type="presParOf" srcId="{364E5810-3C7C-47DC-9B53-61D3F00CC4DC}" destId="{F23232DB-F0E7-4C79-8D01-F6484521FC26}" srcOrd="9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002075D-632A-42D5-97BF-C53461A5AE93}" type="doc">
      <dgm:prSet loTypeId="urn:microsoft.com/office/officeart/2005/8/layout/balance1" loCatId="relationship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pl-PL"/>
        </a:p>
      </dgm:t>
    </dgm:pt>
    <dgm:pt modelId="{507A28CF-FF85-45E4-A883-06F9FA7CC150}">
      <dgm:prSet/>
      <dgm:spPr/>
      <dgm:t>
        <a:bodyPr/>
        <a:lstStyle/>
        <a:p>
          <a:pPr rtl="0"/>
          <a:r>
            <a:rPr lang="pl-PL" dirty="0" smtClean="0"/>
            <a:t>Liderzy</a:t>
          </a:r>
          <a:endParaRPr lang="pl-PL" dirty="0"/>
        </a:p>
      </dgm:t>
    </dgm:pt>
    <dgm:pt modelId="{974467EB-104F-49B0-84C1-2A43765F80D0}" type="parTrans" cxnId="{2C71A831-452E-4719-B743-2BF233A06F17}">
      <dgm:prSet/>
      <dgm:spPr/>
      <dgm:t>
        <a:bodyPr/>
        <a:lstStyle/>
        <a:p>
          <a:endParaRPr lang="pl-PL"/>
        </a:p>
      </dgm:t>
    </dgm:pt>
    <dgm:pt modelId="{FACB353F-2615-488E-8BB4-5A74F82A7265}" type="sibTrans" cxnId="{2C71A831-452E-4719-B743-2BF233A06F17}">
      <dgm:prSet/>
      <dgm:spPr/>
      <dgm:t>
        <a:bodyPr/>
        <a:lstStyle/>
        <a:p>
          <a:endParaRPr lang="pl-PL"/>
        </a:p>
      </dgm:t>
    </dgm:pt>
    <dgm:pt modelId="{BE36480B-7F17-41E3-8E43-241FC34BDF47}">
      <dgm:prSet/>
      <dgm:spPr/>
      <dgm:t>
        <a:bodyPr/>
        <a:lstStyle/>
        <a:p>
          <a:pPr rtl="0"/>
          <a:r>
            <a:rPr lang="pl-PL" dirty="0" smtClean="0"/>
            <a:t>KIS 4 (RSLD), KIS 5 (ZYWN), KIS 8 (BUD), KIS 17 (ROB)</a:t>
          </a:r>
          <a:endParaRPr lang="pl-PL" dirty="0"/>
        </a:p>
      </dgm:t>
    </dgm:pt>
    <dgm:pt modelId="{FE754BCB-E000-4C0B-85BC-A2EAABB8BDE1}" type="parTrans" cxnId="{1000151D-8B61-4EEF-890A-F4094F610BA3}">
      <dgm:prSet/>
      <dgm:spPr/>
      <dgm:t>
        <a:bodyPr/>
        <a:lstStyle/>
        <a:p>
          <a:endParaRPr lang="pl-PL"/>
        </a:p>
      </dgm:t>
    </dgm:pt>
    <dgm:pt modelId="{F3FE81E8-8A42-40E9-8459-FCE6C8CACC49}" type="sibTrans" cxnId="{1000151D-8B61-4EEF-890A-F4094F610BA3}">
      <dgm:prSet/>
      <dgm:spPr/>
      <dgm:t>
        <a:bodyPr/>
        <a:lstStyle/>
        <a:p>
          <a:endParaRPr lang="pl-PL"/>
        </a:p>
      </dgm:t>
    </dgm:pt>
    <dgm:pt modelId="{9C2D3D68-485E-4D24-896F-D3EFA1C585CD}">
      <dgm:prSet/>
      <dgm:spPr/>
      <dgm:t>
        <a:bodyPr/>
        <a:lstStyle/>
        <a:p>
          <a:pPr rtl="0"/>
          <a:r>
            <a:rPr lang="pl-PL" dirty="0" smtClean="0"/>
            <a:t>KIS  6 (BIO) i KIS 13 (NANO)</a:t>
          </a:r>
          <a:endParaRPr lang="pl-PL" dirty="0"/>
        </a:p>
      </dgm:t>
    </dgm:pt>
    <dgm:pt modelId="{1710D416-B8E9-4335-85FC-E7AE1AB453B1}" type="parTrans" cxnId="{CEBA6452-0D4D-4C1B-AF11-64639E91BE56}">
      <dgm:prSet/>
      <dgm:spPr/>
      <dgm:t>
        <a:bodyPr/>
        <a:lstStyle/>
        <a:p>
          <a:endParaRPr lang="pl-PL"/>
        </a:p>
      </dgm:t>
    </dgm:pt>
    <dgm:pt modelId="{2102072F-7179-4EAC-9306-6D2F396D327F}" type="sibTrans" cxnId="{CEBA6452-0D4D-4C1B-AF11-64639E91BE56}">
      <dgm:prSet/>
      <dgm:spPr/>
      <dgm:t>
        <a:bodyPr/>
        <a:lstStyle/>
        <a:p>
          <a:endParaRPr lang="pl-PL"/>
        </a:p>
      </dgm:t>
    </dgm:pt>
    <dgm:pt modelId="{79B2C73B-EE74-4AA3-BE56-F5979140E736}">
      <dgm:prSet/>
      <dgm:spPr/>
      <dgm:t>
        <a:bodyPr/>
        <a:lstStyle/>
        <a:p>
          <a:pPr rtl="0"/>
          <a:r>
            <a:rPr lang="pl-PL" dirty="0" smtClean="0"/>
            <a:t>KIS  3 (WPL)</a:t>
          </a:r>
          <a:endParaRPr lang="pl-PL" dirty="0"/>
        </a:p>
      </dgm:t>
    </dgm:pt>
    <dgm:pt modelId="{FD1C1028-5C1A-4A26-B92C-EC7F5133049B}" type="parTrans" cxnId="{27047B20-839B-4CF0-8CB6-013B02E271DF}">
      <dgm:prSet/>
      <dgm:spPr/>
      <dgm:t>
        <a:bodyPr/>
        <a:lstStyle/>
        <a:p>
          <a:endParaRPr lang="pl-PL"/>
        </a:p>
      </dgm:t>
    </dgm:pt>
    <dgm:pt modelId="{1E11FDFC-4995-43B0-B6B9-AD274BDB0BFD}" type="sibTrans" cxnId="{27047B20-839B-4CF0-8CB6-013B02E271DF}">
      <dgm:prSet/>
      <dgm:spPr/>
      <dgm:t>
        <a:bodyPr/>
        <a:lstStyle/>
        <a:p>
          <a:endParaRPr lang="pl-PL"/>
        </a:p>
      </dgm:t>
    </dgm:pt>
    <dgm:pt modelId="{DA67F026-2491-4AB9-A9C0-3D5B414C3730}">
      <dgm:prSet/>
      <dgm:spPr/>
      <dgm:t>
        <a:bodyPr/>
        <a:lstStyle/>
        <a:p>
          <a:pPr rtl="0"/>
          <a:r>
            <a:rPr lang="pl-PL" dirty="0" smtClean="0"/>
            <a:t>KIS 18 (FOTONIKA)</a:t>
          </a:r>
          <a:endParaRPr lang="pl-PL" dirty="0"/>
        </a:p>
      </dgm:t>
    </dgm:pt>
    <dgm:pt modelId="{535EAB49-34DB-4BC4-B03B-543704E487B6}" type="parTrans" cxnId="{6056AFAE-8DC8-42AC-A642-128D3D492B50}">
      <dgm:prSet/>
      <dgm:spPr/>
      <dgm:t>
        <a:bodyPr/>
        <a:lstStyle/>
        <a:p>
          <a:endParaRPr lang="pl-PL"/>
        </a:p>
      </dgm:t>
    </dgm:pt>
    <dgm:pt modelId="{1CDEAB7D-7133-419D-8526-A1B0B2C7C388}" type="sibTrans" cxnId="{6056AFAE-8DC8-42AC-A642-128D3D492B50}">
      <dgm:prSet/>
      <dgm:spPr/>
      <dgm:t>
        <a:bodyPr/>
        <a:lstStyle/>
        <a:p>
          <a:endParaRPr lang="pl-PL"/>
        </a:p>
      </dgm:t>
    </dgm:pt>
    <dgm:pt modelId="{96A246D2-EDF1-4924-AE54-351E6E6DEC31}">
      <dgm:prSet/>
      <dgm:spPr/>
      <dgm:t>
        <a:bodyPr/>
        <a:lstStyle/>
        <a:p>
          <a:pPr rtl="0"/>
          <a:r>
            <a:rPr lang="pl-PL" dirty="0" smtClean="0"/>
            <a:t>Maruderzy</a:t>
          </a:r>
          <a:endParaRPr lang="pl-PL" dirty="0"/>
        </a:p>
      </dgm:t>
    </dgm:pt>
    <dgm:pt modelId="{F2450499-E4B1-4747-B5F4-6B887DC60037}" type="parTrans" cxnId="{C2DC90BC-28EC-4571-8C80-4DA027784C7E}">
      <dgm:prSet/>
      <dgm:spPr/>
      <dgm:t>
        <a:bodyPr/>
        <a:lstStyle/>
        <a:p>
          <a:endParaRPr lang="pl-PL"/>
        </a:p>
      </dgm:t>
    </dgm:pt>
    <dgm:pt modelId="{29651DA7-14E3-4DA4-ABA3-8BA52FE2FFCD}" type="sibTrans" cxnId="{C2DC90BC-28EC-4571-8C80-4DA027784C7E}">
      <dgm:prSet/>
      <dgm:spPr/>
      <dgm:t>
        <a:bodyPr/>
        <a:lstStyle/>
        <a:p>
          <a:endParaRPr lang="pl-PL"/>
        </a:p>
      </dgm:t>
    </dgm:pt>
    <dgm:pt modelId="{7D511EDA-2FAC-4995-8AC6-45840F0BC048}">
      <dgm:prSet/>
      <dgm:spPr/>
      <dgm:t>
        <a:bodyPr/>
        <a:lstStyle/>
        <a:p>
          <a:pPr rtl="0"/>
          <a:r>
            <a:rPr lang="pl-PL" dirty="0" smtClean="0"/>
            <a:t>KIS  7 (ENER)</a:t>
          </a:r>
          <a:endParaRPr lang="pl-PL" dirty="0"/>
        </a:p>
      </dgm:t>
    </dgm:pt>
    <dgm:pt modelId="{695EAB8A-C245-4178-9112-5921608FA5DF}" type="parTrans" cxnId="{894795AA-3101-4D26-80BD-5A9D772E0F43}">
      <dgm:prSet/>
      <dgm:spPr/>
      <dgm:t>
        <a:bodyPr/>
        <a:lstStyle/>
        <a:p>
          <a:endParaRPr lang="pl-PL"/>
        </a:p>
      </dgm:t>
    </dgm:pt>
    <dgm:pt modelId="{8563C982-D28D-40BF-AA49-B2D4B8DBDD9B}" type="sibTrans" cxnId="{894795AA-3101-4D26-80BD-5A9D772E0F43}">
      <dgm:prSet/>
      <dgm:spPr/>
      <dgm:t>
        <a:bodyPr/>
        <a:lstStyle/>
        <a:p>
          <a:endParaRPr lang="pl-PL"/>
        </a:p>
      </dgm:t>
    </dgm:pt>
    <dgm:pt modelId="{22EAE122-28EF-4B4F-A38C-C91DA5F6563B}">
      <dgm:prSet/>
      <dgm:spPr/>
      <dgm:t>
        <a:bodyPr/>
        <a:lstStyle/>
        <a:p>
          <a:pPr rtl="0"/>
          <a:r>
            <a:rPr lang="pl-PL" dirty="0" smtClean="0"/>
            <a:t>KIS 15 (GEO)  </a:t>
          </a:r>
        </a:p>
        <a:p>
          <a:pPr rtl="0"/>
          <a:r>
            <a:rPr lang="pl-PL" dirty="0" smtClean="0"/>
            <a:t>KIS 16 (ELE)</a:t>
          </a:r>
          <a:endParaRPr lang="pl-PL" dirty="0"/>
        </a:p>
      </dgm:t>
    </dgm:pt>
    <dgm:pt modelId="{B8C406CD-96C9-4B40-9BB0-CB812533E036}" type="parTrans" cxnId="{212EB448-0D8B-4760-8BA3-96B6BF57D553}">
      <dgm:prSet/>
      <dgm:spPr/>
      <dgm:t>
        <a:bodyPr/>
        <a:lstStyle/>
        <a:p>
          <a:endParaRPr lang="pl-PL"/>
        </a:p>
      </dgm:t>
    </dgm:pt>
    <dgm:pt modelId="{0B16B4A8-5104-47F1-A439-6ADAE418FB46}" type="sibTrans" cxnId="{212EB448-0D8B-4760-8BA3-96B6BF57D553}">
      <dgm:prSet/>
      <dgm:spPr/>
      <dgm:t>
        <a:bodyPr/>
        <a:lstStyle/>
        <a:p>
          <a:endParaRPr lang="pl-PL"/>
        </a:p>
      </dgm:t>
    </dgm:pt>
    <dgm:pt modelId="{4283D44E-F289-4255-8A5A-A0D100785DE8}">
      <dgm:prSet/>
      <dgm:spPr/>
      <dgm:t>
        <a:bodyPr/>
        <a:lstStyle/>
        <a:p>
          <a:pPr rtl="0"/>
          <a:r>
            <a:rPr lang="pl-PL" dirty="0" smtClean="0"/>
            <a:t>KIS 2 (</a:t>
          </a:r>
          <a:r>
            <a:rPr lang="pl-PL" dirty="0" err="1" smtClean="0"/>
            <a:t>DiT</a:t>
          </a:r>
          <a:r>
            <a:rPr lang="pl-PL" dirty="0" smtClean="0"/>
            <a:t>) </a:t>
          </a:r>
          <a:br>
            <a:rPr lang="pl-PL" dirty="0" smtClean="0"/>
          </a:br>
          <a:endParaRPr lang="pl-PL" dirty="0"/>
        </a:p>
      </dgm:t>
    </dgm:pt>
    <dgm:pt modelId="{BD2C42BE-F7D2-4B7C-9271-AFC9B92FDDC6}" type="sibTrans" cxnId="{A4F485AE-3393-4F04-8E11-7E3B0C7AC374}">
      <dgm:prSet/>
      <dgm:spPr/>
      <dgm:t>
        <a:bodyPr/>
        <a:lstStyle/>
        <a:p>
          <a:endParaRPr lang="pl-PL"/>
        </a:p>
      </dgm:t>
    </dgm:pt>
    <dgm:pt modelId="{092CDDFA-DAA7-40C3-B6A6-292DFD7F0858}" type="parTrans" cxnId="{A4F485AE-3393-4F04-8E11-7E3B0C7AC374}">
      <dgm:prSet/>
      <dgm:spPr/>
      <dgm:t>
        <a:bodyPr/>
        <a:lstStyle/>
        <a:p>
          <a:endParaRPr lang="pl-PL"/>
        </a:p>
      </dgm:t>
    </dgm:pt>
    <dgm:pt modelId="{E6642458-E2D2-4930-8518-F596F809FE3A}" type="pres">
      <dgm:prSet presAssocID="{2002075D-632A-42D5-97BF-C53461A5AE93}" presName="outerComposite" presStyleCnt="0">
        <dgm:presLayoutVars>
          <dgm:chMax val="2"/>
          <dgm:animLvl val="lvl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76037207-E152-4968-ACE1-DF48F07E8719}" type="pres">
      <dgm:prSet presAssocID="{2002075D-632A-42D5-97BF-C53461A5AE93}" presName="dummyMaxCanvas" presStyleCnt="0"/>
      <dgm:spPr/>
    </dgm:pt>
    <dgm:pt modelId="{6F29B998-36A6-4CB6-AD0B-A0698DB15A2A}" type="pres">
      <dgm:prSet presAssocID="{2002075D-632A-42D5-97BF-C53461A5AE93}" presName="parentComposite" presStyleCnt="0"/>
      <dgm:spPr/>
    </dgm:pt>
    <dgm:pt modelId="{A85212F1-30E1-4966-BD1D-3DFC060ACE0C}" type="pres">
      <dgm:prSet presAssocID="{2002075D-632A-42D5-97BF-C53461A5AE93}" presName="parent1" presStyleLbl="alignAccFollowNode1" presStyleIdx="0" presStyleCnt="4">
        <dgm:presLayoutVars>
          <dgm:chMax val="4"/>
        </dgm:presLayoutVars>
      </dgm:prSet>
      <dgm:spPr/>
      <dgm:t>
        <a:bodyPr/>
        <a:lstStyle/>
        <a:p>
          <a:endParaRPr lang="pl-PL"/>
        </a:p>
      </dgm:t>
    </dgm:pt>
    <dgm:pt modelId="{DA7CC531-22B4-4CD8-B050-B97A0DD52BD2}" type="pres">
      <dgm:prSet presAssocID="{2002075D-632A-42D5-97BF-C53461A5AE93}" presName="parent2" presStyleLbl="alignAccFollowNode1" presStyleIdx="1" presStyleCnt="4">
        <dgm:presLayoutVars>
          <dgm:chMax val="4"/>
        </dgm:presLayoutVars>
      </dgm:prSet>
      <dgm:spPr/>
      <dgm:t>
        <a:bodyPr/>
        <a:lstStyle/>
        <a:p>
          <a:endParaRPr lang="pl-PL"/>
        </a:p>
      </dgm:t>
    </dgm:pt>
    <dgm:pt modelId="{364E5810-3C7C-47DC-9B53-61D3F00CC4DC}" type="pres">
      <dgm:prSet presAssocID="{2002075D-632A-42D5-97BF-C53461A5AE93}" presName="childrenComposite" presStyleCnt="0"/>
      <dgm:spPr/>
    </dgm:pt>
    <dgm:pt modelId="{8243D860-55BC-468C-B867-A48A70A41E1E}" type="pres">
      <dgm:prSet presAssocID="{2002075D-632A-42D5-97BF-C53461A5AE93}" presName="dummyMaxCanvas_ChildArea" presStyleCnt="0"/>
      <dgm:spPr/>
    </dgm:pt>
    <dgm:pt modelId="{A3E5684F-E7C0-4405-BA6E-0221DA9223F8}" type="pres">
      <dgm:prSet presAssocID="{2002075D-632A-42D5-97BF-C53461A5AE93}" presName="fulcrum" presStyleLbl="alignAccFollowNode1" presStyleIdx="2" presStyleCnt="4" custLinFactNeighborX="-228" custLinFactNeighborY="42189"/>
      <dgm:spPr/>
    </dgm:pt>
    <dgm:pt modelId="{3D1DFB3A-B1A5-4FDF-A878-28EBECCFA7B7}" type="pres">
      <dgm:prSet presAssocID="{2002075D-632A-42D5-97BF-C53461A5AE93}" presName="balance_43" presStyleLbl="alignAccFollowNode1" presStyleIdx="3" presStyleCnt="4" custAng="1190743" custScaleY="133969" custLinFactNeighborX="1366" custLinFactNeighborY="61971">
        <dgm:presLayoutVars>
          <dgm:bulletEnabled val="1"/>
        </dgm:presLayoutVars>
      </dgm:prSet>
      <dgm:spPr/>
    </dgm:pt>
    <dgm:pt modelId="{E3137E24-6C86-49A2-B9DD-0E7247E38DD8}" type="pres">
      <dgm:prSet presAssocID="{2002075D-632A-42D5-97BF-C53461A5AE93}" presName="left_43_1" presStyleLbl="node1" presStyleIdx="0" presStyleCnt="7" custLinFactNeighborX="2869" custLinFactNeighborY="-3466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FA3EC5A-51B7-4BA5-AD80-CB16BD278CD2}" type="pres">
      <dgm:prSet presAssocID="{2002075D-632A-42D5-97BF-C53461A5AE93}" presName="left_43_2" presStyleLbl="node1" presStyleIdx="1" presStyleCnt="7" custLinFactNeighborX="1638" custLinFactNeighborY="-3360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5AF6B27-FDC3-4D77-B41A-31281049FA98}" type="pres">
      <dgm:prSet presAssocID="{2002075D-632A-42D5-97BF-C53461A5AE93}" presName="left_43_3" presStyleLbl="node1" presStyleIdx="2" presStyleCnt="7" custLinFactNeighborX="407" custLinFactNeighborY="-32550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2F7A8BA-F233-4100-86E7-A86B1EBCDD06}" type="pres">
      <dgm:prSet presAssocID="{2002075D-632A-42D5-97BF-C53461A5AE93}" presName="left_43_4" presStyleLbl="node1" presStyleIdx="3" presStyleCnt="7" custLinFactNeighborX="-824" custLinFactNeighborY="-31492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F4CE5E76-DD84-40A4-A688-EA1782B3EC41}" type="pres">
      <dgm:prSet presAssocID="{2002075D-632A-42D5-97BF-C53461A5AE93}" presName="right_43_1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4DABE77-EF1C-47D7-BEFD-F839E9F728E0}" type="pres">
      <dgm:prSet presAssocID="{2002075D-632A-42D5-97BF-C53461A5AE93}" presName="right_43_2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F23232DB-F0E7-4C79-8D01-F6484521FC26}" type="pres">
      <dgm:prSet presAssocID="{2002075D-632A-42D5-97BF-C53461A5AE93}" presName="right_43_3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C2DC90BC-28EC-4571-8C80-4DA027784C7E}" srcId="{2002075D-632A-42D5-97BF-C53461A5AE93}" destId="{96A246D2-EDF1-4924-AE54-351E6E6DEC31}" srcOrd="1" destOrd="0" parTransId="{F2450499-E4B1-4747-B5F4-6B887DC60037}" sibTransId="{29651DA7-14E3-4DA4-ABA3-8BA52FE2FFCD}"/>
    <dgm:cxn modelId="{A4F485AE-3393-4F04-8E11-7E3B0C7AC374}" srcId="{96A246D2-EDF1-4924-AE54-351E6E6DEC31}" destId="{4283D44E-F289-4255-8A5A-A0D100785DE8}" srcOrd="2" destOrd="0" parTransId="{092CDDFA-DAA7-40C3-B6A6-292DFD7F0858}" sibTransId="{BD2C42BE-F7D2-4B7C-9271-AFC9B92FDDC6}"/>
    <dgm:cxn modelId="{6056AFAE-8DC8-42AC-A642-128D3D492B50}" srcId="{507A28CF-FF85-45E4-A883-06F9FA7CC150}" destId="{DA67F026-2491-4AB9-A9C0-3D5B414C3730}" srcOrd="3" destOrd="0" parTransId="{535EAB49-34DB-4BC4-B03B-543704E487B6}" sibTransId="{1CDEAB7D-7133-419D-8526-A1B0B2C7C388}"/>
    <dgm:cxn modelId="{27047B20-839B-4CF0-8CB6-013B02E271DF}" srcId="{507A28CF-FF85-45E4-A883-06F9FA7CC150}" destId="{79B2C73B-EE74-4AA3-BE56-F5979140E736}" srcOrd="2" destOrd="0" parTransId="{FD1C1028-5C1A-4A26-B92C-EC7F5133049B}" sibTransId="{1E11FDFC-4995-43B0-B6B9-AD274BDB0BFD}"/>
    <dgm:cxn modelId="{894795AA-3101-4D26-80BD-5A9D772E0F43}" srcId="{96A246D2-EDF1-4924-AE54-351E6E6DEC31}" destId="{7D511EDA-2FAC-4995-8AC6-45840F0BC048}" srcOrd="0" destOrd="0" parTransId="{695EAB8A-C245-4178-9112-5921608FA5DF}" sibTransId="{8563C982-D28D-40BF-AA49-B2D4B8DBDD9B}"/>
    <dgm:cxn modelId="{1B4A6A5F-DD04-4BDA-9452-A88D1F664973}" type="presOf" srcId="{2002075D-632A-42D5-97BF-C53461A5AE93}" destId="{E6642458-E2D2-4930-8518-F596F809FE3A}" srcOrd="0" destOrd="0" presId="urn:microsoft.com/office/officeart/2005/8/layout/balance1"/>
    <dgm:cxn modelId="{CEBA6452-0D4D-4C1B-AF11-64639E91BE56}" srcId="{507A28CF-FF85-45E4-A883-06F9FA7CC150}" destId="{9C2D3D68-485E-4D24-896F-D3EFA1C585CD}" srcOrd="1" destOrd="0" parTransId="{1710D416-B8E9-4335-85FC-E7AE1AB453B1}" sibTransId="{2102072F-7179-4EAC-9306-6D2F396D327F}"/>
    <dgm:cxn modelId="{D37322E7-B9CD-4860-BEC9-94CDB4D8C928}" type="presOf" srcId="{9C2D3D68-485E-4D24-896F-D3EFA1C585CD}" destId="{5FA3EC5A-51B7-4BA5-AD80-CB16BD278CD2}" srcOrd="0" destOrd="0" presId="urn:microsoft.com/office/officeart/2005/8/layout/balance1"/>
    <dgm:cxn modelId="{7C4D0C21-736C-4C6D-BFD9-38B29931EDE2}" type="presOf" srcId="{BE36480B-7F17-41E3-8E43-241FC34BDF47}" destId="{E3137E24-6C86-49A2-B9DD-0E7247E38DD8}" srcOrd="0" destOrd="0" presId="urn:microsoft.com/office/officeart/2005/8/layout/balance1"/>
    <dgm:cxn modelId="{214A94EB-5AEB-4931-B2EA-81FB2D6197E1}" type="presOf" srcId="{DA67F026-2491-4AB9-A9C0-3D5B414C3730}" destId="{E2F7A8BA-F233-4100-86E7-A86B1EBCDD06}" srcOrd="0" destOrd="0" presId="urn:microsoft.com/office/officeart/2005/8/layout/balance1"/>
    <dgm:cxn modelId="{36BB4488-D0A7-43F2-84EF-50F92EDADEA3}" type="presOf" srcId="{507A28CF-FF85-45E4-A883-06F9FA7CC150}" destId="{A85212F1-30E1-4966-BD1D-3DFC060ACE0C}" srcOrd="0" destOrd="0" presId="urn:microsoft.com/office/officeart/2005/8/layout/balance1"/>
    <dgm:cxn modelId="{3E569527-D17D-4B3B-A262-3EE15B34B309}" type="presOf" srcId="{7D511EDA-2FAC-4995-8AC6-45840F0BC048}" destId="{F4CE5E76-DD84-40A4-A688-EA1782B3EC41}" srcOrd="0" destOrd="0" presId="urn:microsoft.com/office/officeart/2005/8/layout/balance1"/>
    <dgm:cxn modelId="{212EB448-0D8B-4760-8BA3-96B6BF57D553}" srcId="{96A246D2-EDF1-4924-AE54-351E6E6DEC31}" destId="{22EAE122-28EF-4B4F-A38C-C91DA5F6563B}" srcOrd="1" destOrd="0" parTransId="{B8C406CD-96C9-4B40-9BB0-CB812533E036}" sibTransId="{0B16B4A8-5104-47F1-A439-6ADAE418FB46}"/>
    <dgm:cxn modelId="{1E792317-A694-4175-B821-DD3781548058}" type="presOf" srcId="{22EAE122-28EF-4B4F-A38C-C91DA5F6563B}" destId="{A4DABE77-EF1C-47D7-BEFD-F839E9F728E0}" srcOrd="0" destOrd="0" presId="urn:microsoft.com/office/officeart/2005/8/layout/balance1"/>
    <dgm:cxn modelId="{2C71A831-452E-4719-B743-2BF233A06F17}" srcId="{2002075D-632A-42D5-97BF-C53461A5AE93}" destId="{507A28CF-FF85-45E4-A883-06F9FA7CC150}" srcOrd="0" destOrd="0" parTransId="{974467EB-104F-49B0-84C1-2A43765F80D0}" sibTransId="{FACB353F-2615-488E-8BB4-5A74F82A7265}"/>
    <dgm:cxn modelId="{EEEC0866-04A9-4480-A70E-1073A98A5870}" type="presOf" srcId="{96A246D2-EDF1-4924-AE54-351E6E6DEC31}" destId="{DA7CC531-22B4-4CD8-B050-B97A0DD52BD2}" srcOrd="0" destOrd="0" presId="urn:microsoft.com/office/officeart/2005/8/layout/balance1"/>
    <dgm:cxn modelId="{1000151D-8B61-4EEF-890A-F4094F610BA3}" srcId="{507A28CF-FF85-45E4-A883-06F9FA7CC150}" destId="{BE36480B-7F17-41E3-8E43-241FC34BDF47}" srcOrd="0" destOrd="0" parTransId="{FE754BCB-E000-4C0B-85BC-A2EAABB8BDE1}" sibTransId="{F3FE81E8-8A42-40E9-8459-FCE6C8CACC49}"/>
    <dgm:cxn modelId="{9869502C-214C-4065-AC4D-925EEB0FC8F0}" type="presOf" srcId="{79B2C73B-EE74-4AA3-BE56-F5979140E736}" destId="{B5AF6B27-FDC3-4D77-B41A-31281049FA98}" srcOrd="0" destOrd="0" presId="urn:microsoft.com/office/officeart/2005/8/layout/balance1"/>
    <dgm:cxn modelId="{A9AB55BB-A78C-4F8C-BF01-078EB5B2CD12}" type="presOf" srcId="{4283D44E-F289-4255-8A5A-A0D100785DE8}" destId="{F23232DB-F0E7-4C79-8D01-F6484521FC26}" srcOrd="0" destOrd="0" presId="urn:microsoft.com/office/officeart/2005/8/layout/balance1"/>
    <dgm:cxn modelId="{01ADFD65-462B-437A-8FC4-80527D70C84D}" type="presParOf" srcId="{E6642458-E2D2-4930-8518-F596F809FE3A}" destId="{76037207-E152-4968-ACE1-DF48F07E8719}" srcOrd="0" destOrd="0" presId="urn:microsoft.com/office/officeart/2005/8/layout/balance1"/>
    <dgm:cxn modelId="{11FD4393-CE23-4F38-8343-00126C6672BD}" type="presParOf" srcId="{E6642458-E2D2-4930-8518-F596F809FE3A}" destId="{6F29B998-36A6-4CB6-AD0B-A0698DB15A2A}" srcOrd="1" destOrd="0" presId="urn:microsoft.com/office/officeart/2005/8/layout/balance1"/>
    <dgm:cxn modelId="{A571ACD6-AE88-462F-B17E-3464CB1EC578}" type="presParOf" srcId="{6F29B998-36A6-4CB6-AD0B-A0698DB15A2A}" destId="{A85212F1-30E1-4966-BD1D-3DFC060ACE0C}" srcOrd="0" destOrd="0" presId="urn:microsoft.com/office/officeart/2005/8/layout/balance1"/>
    <dgm:cxn modelId="{80266848-CBAB-47AF-BCE8-A558651BC4B3}" type="presParOf" srcId="{6F29B998-36A6-4CB6-AD0B-A0698DB15A2A}" destId="{DA7CC531-22B4-4CD8-B050-B97A0DD52BD2}" srcOrd="1" destOrd="0" presId="urn:microsoft.com/office/officeart/2005/8/layout/balance1"/>
    <dgm:cxn modelId="{3D330024-2C48-4D7D-9142-2ACDB5B1E1AB}" type="presParOf" srcId="{E6642458-E2D2-4930-8518-F596F809FE3A}" destId="{364E5810-3C7C-47DC-9B53-61D3F00CC4DC}" srcOrd="2" destOrd="0" presId="urn:microsoft.com/office/officeart/2005/8/layout/balance1"/>
    <dgm:cxn modelId="{628FC066-90CB-4D5C-995A-505069FE3F18}" type="presParOf" srcId="{364E5810-3C7C-47DC-9B53-61D3F00CC4DC}" destId="{8243D860-55BC-468C-B867-A48A70A41E1E}" srcOrd="0" destOrd="0" presId="urn:microsoft.com/office/officeart/2005/8/layout/balance1"/>
    <dgm:cxn modelId="{0760F45C-AE07-4555-81B2-2F505E33BBFF}" type="presParOf" srcId="{364E5810-3C7C-47DC-9B53-61D3F00CC4DC}" destId="{A3E5684F-E7C0-4405-BA6E-0221DA9223F8}" srcOrd="1" destOrd="0" presId="urn:microsoft.com/office/officeart/2005/8/layout/balance1"/>
    <dgm:cxn modelId="{569EC615-1EBA-497B-917B-20074BAE1DC0}" type="presParOf" srcId="{364E5810-3C7C-47DC-9B53-61D3F00CC4DC}" destId="{3D1DFB3A-B1A5-4FDF-A878-28EBECCFA7B7}" srcOrd="2" destOrd="0" presId="urn:microsoft.com/office/officeart/2005/8/layout/balance1"/>
    <dgm:cxn modelId="{BD029AD0-EA2B-4BF8-B02A-52349080851A}" type="presParOf" srcId="{364E5810-3C7C-47DC-9B53-61D3F00CC4DC}" destId="{E3137E24-6C86-49A2-B9DD-0E7247E38DD8}" srcOrd="3" destOrd="0" presId="urn:microsoft.com/office/officeart/2005/8/layout/balance1"/>
    <dgm:cxn modelId="{2ADBBAE3-BD2B-42E5-B478-8D6A8F7E4041}" type="presParOf" srcId="{364E5810-3C7C-47DC-9B53-61D3F00CC4DC}" destId="{5FA3EC5A-51B7-4BA5-AD80-CB16BD278CD2}" srcOrd="4" destOrd="0" presId="urn:microsoft.com/office/officeart/2005/8/layout/balance1"/>
    <dgm:cxn modelId="{F61AC7E3-37BD-45D7-9560-AD0740B20AF5}" type="presParOf" srcId="{364E5810-3C7C-47DC-9B53-61D3F00CC4DC}" destId="{B5AF6B27-FDC3-4D77-B41A-31281049FA98}" srcOrd="5" destOrd="0" presId="urn:microsoft.com/office/officeart/2005/8/layout/balance1"/>
    <dgm:cxn modelId="{31B99003-FD15-4E7D-8F86-1A8C23E77BA1}" type="presParOf" srcId="{364E5810-3C7C-47DC-9B53-61D3F00CC4DC}" destId="{E2F7A8BA-F233-4100-86E7-A86B1EBCDD06}" srcOrd="6" destOrd="0" presId="urn:microsoft.com/office/officeart/2005/8/layout/balance1"/>
    <dgm:cxn modelId="{D83264C1-F9C1-4C26-A9FA-B8645B890B41}" type="presParOf" srcId="{364E5810-3C7C-47DC-9B53-61D3F00CC4DC}" destId="{F4CE5E76-DD84-40A4-A688-EA1782B3EC41}" srcOrd="7" destOrd="0" presId="urn:microsoft.com/office/officeart/2005/8/layout/balance1"/>
    <dgm:cxn modelId="{10AE12D9-E9F5-411B-9C31-D3CD27ADA79A}" type="presParOf" srcId="{364E5810-3C7C-47DC-9B53-61D3F00CC4DC}" destId="{A4DABE77-EF1C-47D7-BEFD-F839E9F728E0}" srcOrd="8" destOrd="0" presId="urn:microsoft.com/office/officeart/2005/8/layout/balance1"/>
    <dgm:cxn modelId="{06655447-29CD-4D10-8D0A-F7EAF89D7C59}" type="presParOf" srcId="{364E5810-3C7C-47DC-9B53-61D3F00CC4DC}" destId="{F23232DB-F0E7-4C79-8D01-F6484521FC26}" srcOrd="9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BEC7C17-2A0B-4B7C-90D3-A61DCB4A5FF1}" type="doc">
      <dgm:prSet loTypeId="urn:microsoft.com/office/officeart/2005/8/layout/gear1" loCatId="relationship" qsTypeId="urn:microsoft.com/office/officeart/2005/8/quickstyle/3d1" qsCatId="3D" csTypeId="urn:microsoft.com/office/officeart/2005/8/colors/colorful5" csCatId="colorful" phldr="1"/>
      <dgm:spPr/>
      <dgm:t>
        <a:bodyPr/>
        <a:lstStyle/>
        <a:p>
          <a:endParaRPr lang="pl-PL"/>
        </a:p>
      </dgm:t>
    </dgm:pt>
    <dgm:pt modelId="{59575AC5-D4A0-4312-96E2-AE2A0B7E5469}">
      <dgm:prSet custT="1"/>
      <dgm:spPr/>
      <dgm:t>
        <a:bodyPr/>
        <a:lstStyle/>
        <a:p>
          <a:pPr rtl="0"/>
          <a:r>
            <a:rPr lang="pl-PL" sz="1600" dirty="0" smtClean="0"/>
            <a:t>Grupa liderów pozostaje bez zmian</a:t>
          </a:r>
          <a:endParaRPr lang="pl-PL" sz="1600" dirty="0"/>
        </a:p>
      </dgm:t>
    </dgm:pt>
    <dgm:pt modelId="{A858F377-1F55-48B3-96F0-918399C38C6B}" type="parTrans" cxnId="{222C1B39-6F17-418E-AA65-A51557DD8733}">
      <dgm:prSet/>
      <dgm:spPr/>
      <dgm:t>
        <a:bodyPr/>
        <a:lstStyle/>
        <a:p>
          <a:endParaRPr lang="pl-PL"/>
        </a:p>
      </dgm:t>
    </dgm:pt>
    <dgm:pt modelId="{08880AEE-B4A7-4164-8370-D9A15FB0C1AE}" type="sibTrans" cxnId="{222C1B39-6F17-418E-AA65-A51557DD8733}">
      <dgm:prSet/>
      <dgm:spPr/>
      <dgm:t>
        <a:bodyPr/>
        <a:lstStyle/>
        <a:p>
          <a:endParaRPr lang="pl-PL"/>
        </a:p>
      </dgm:t>
    </dgm:pt>
    <dgm:pt modelId="{FD2C379E-E8C2-45D0-A068-88C0E611A6CB}">
      <dgm:prSet custT="1"/>
      <dgm:spPr/>
      <dgm:t>
        <a:bodyPr/>
        <a:lstStyle/>
        <a:p>
          <a:pPr rtl="0"/>
          <a:r>
            <a:rPr lang="pl-PL" sz="1400" dirty="0" smtClean="0"/>
            <a:t>Wskaźnik</a:t>
          </a:r>
          <a:r>
            <a:rPr lang="pl-PL" sz="1400" baseline="0" dirty="0" smtClean="0"/>
            <a:t> sukcesu najwyższy w KIS poza grupą liderów (WYSOKA JAKOŚĆ WNIOSKÓW):</a:t>
          </a:r>
        </a:p>
        <a:p>
          <a:pPr rtl="0"/>
          <a:r>
            <a:rPr lang="pl-PL" sz="1400" baseline="0" dirty="0" smtClean="0"/>
            <a:t>KIS 18, KIS 3,  KIS 6, KIS 13 </a:t>
          </a:r>
          <a:endParaRPr lang="pl-PL" sz="1400" dirty="0"/>
        </a:p>
      </dgm:t>
    </dgm:pt>
    <dgm:pt modelId="{B641F31D-C2A1-4E80-9BD5-9FFEE44AE625}" type="parTrans" cxnId="{78801F68-C823-4798-A2DC-E0ABD0B6BC89}">
      <dgm:prSet/>
      <dgm:spPr/>
      <dgm:t>
        <a:bodyPr/>
        <a:lstStyle/>
        <a:p>
          <a:endParaRPr lang="pl-PL"/>
        </a:p>
      </dgm:t>
    </dgm:pt>
    <dgm:pt modelId="{CCC36834-9DB9-4B98-8AB3-AE8EF06B6290}" type="sibTrans" cxnId="{78801F68-C823-4798-A2DC-E0ABD0B6BC89}">
      <dgm:prSet/>
      <dgm:spPr/>
      <dgm:t>
        <a:bodyPr/>
        <a:lstStyle/>
        <a:p>
          <a:endParaRPr lang="pl-PL"/>
        </a:p>
      </dgm:t>
    </dgm:pt>
    <dgm:pt modelId="{ED32DAF4-DC3F-4658-9C6A-FD9D7CB6267E}">
      <dgm:prSet/>
      <dgm:spPr/>
      <dgm:t>
        <a:bodyPr/>
        <a:lstStyle/>
        <a:p>
          <a:pPr rtl="0"/>
          <a:r>
            <a:rPr lang="pl-PL" dirty="0" smtClean="0">
              <a:solidFill>
                <a:schemeClr val="bg1">
                  <a:lumMod val="50000"/>
                </a:schemeClr>
              </a:solidFill>
            </a:rPr>
            <a:t>Na liście maruderów wciąż KIS 16 (Elek. druk), KIS 20 (ITM) oraz KIS 18 (FOT)  - </a:t>
          </a:r>
          <a:r>
            <a:rPr lang="pl-PL" b="1" dirty="0" smtClean="0">
              <a:solidFill>
                <a:schemeClr val="bg1">
                  <a:lumMod val="50000"/>
                </a:schemeClr>
              </a:solidFill>
            </a:rPr>
            <a:t>KIS 12 (WOD) spada z listy</a:t>
          </a:r>
          <a:endParaRPr lang="pl-PL" b="1" dirty="0">
            <a:solidFill>
              <a:schemeClr val="bg1">
                <a:lumMod val="50000"/>
              </a:schemeClr>
            </a:solidFill>
          </a:endParaRPr>
        </a:p>
      </dgm:t>
    </dgm:pt>
    <dgm:pt modelId="{6A409672-037E-45EC-9B76-369CFFBBC0C8}" type="parTrans" cxnId="{56D5F40A-A243-40B0-BB5F-B1593A4EA002}">
      <dgm:prSet/>
      <dgm:spPr/>
      <dgm:t>
        <a:bodyPr/>
        <a:lstStyle/>
        <a:p>
          <a:endParaRPr lang="pl-PL"/>
        </a:p>
      </dgm:t>
    </dgm:pt>
    <dgm:pt modelId="{962A24F4-772E-4342-A506-5CB86D3F1FBF}" type="sibTrans" cxnId="{56D5F40A-A243-40B0-BB5F-B1593A4EA002}">
      <dgm:prSet/>
      <dgm:spPr/>
      <dgm:t>
        <a:bodyPr/>
        <a:lstStyle/>
        <a:p>
          <a:endParaRPr lang="pl-PL"/>
        </a:p>
      </dgm:t>
    </dgm:pt>
    <dgm:pt modelId="{326D314D-1ECF-44B7-804F-1099FB50134E}" type="pres">
      <dgm:prSet presAssocID="{7BEC7C17-2A0B-4B7C-90D3-A61DCB4A5FF1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264FD983-ED45-40A0-9344-176708A09E01}" type="pres">
      <dgm:prSet presAssocID="{59575AC5-D4A0-4312-96E2-AE2A0B7E5469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DD545F56-D280-48AF-A6BF-EEB71A0214BB}" type="pres">
      <dgm:prSet presAssocID="{59575AC5-D4A0-4312-96E2-AE2A0B7E5469}" presName="gear1srcNode" presStyleLbl="node1" presStyleIdx="0" presStyleCnt="3"/>
      <dgm:spPr/>
      <dgm:t>
        <a:bodyPr/>
        <a:lstStyle/>
        <a:p>
          <a:endParaRPr lang="pl-PL"/>
        </a:p>
      </dgm:t>
    </dgm:pt>
    <dgm:pt modelId="{35753915-6A1D-478D-929B-089DD953996F}" type="pres">
      <dgm:prSet presAssocID="{59575AC5-D4A0-4312-96E2-AE2A0B7E5469}" presName="gear1dstNode" presStyleLbl="node1" presStyleIdx="0" presStyleCnt="3"/>
      <dgm:spPr/>
      <dgm:t>
        <a:bodyPr/>
        <a:lstStyle/>
        <a:p>
          <a:endParaRPr lang="pl-PL"/>
        </a:p>
      </dgm:t>
    </dgm:pt>
    <dgm:pt modelId="{7D6C2B03-28EB-49BD-A8E8-80AFB0659AFD}" type="pres">
      <dgm:prSet presAssocID="{FD2C379E-E8C2-45D0-A068-88C0E611A6CB}" presName="gear2" presStyleLbl="node1" presStyleIdx="1" presStyleCnt="3" custScaleX="139487" custScaleY="110869" custLinFactNeighborX="-6410" custLinFactNeighborY="3205">
        <dgm:presLayoutVars>
          <dgm:chMax val="1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B3E7F9F-BB3A-48CD-94FC-EA2399C70E91}" type="pres">
      <dgm:prSet presAssocID="{FD2C379E-E8C2-45D0-A068-88C0E611A6CB}" presName="gear2srcNode" presStyleLbl="node1" presStyleIdx="1" presStyleCnt="3"/>
      <dgm:spPr/>
      <dgm:t>
        <a:bodyPr/>
        <a:lstStyle/>
        <a:p>
          <a:endParaRPr lang="pl-PL"/>
        </a:p>
      </dgm:t>
    </dgm:pt>
    <dgm:pt modelId="{EEF46C6C-9C92-4844-80EE-C606BB4C7E48}" type="pres">
      <dgm:prSet presAssocID="{FD2C379E-E8C2-45D0-A068-88C0E611A6CB}" presName="gear2dstNode" presStyleLbl="node1" presStyleIdx="1" presStyleCnt="3"/>
      <dgm:spPr/>
      <dgm:t>
        <a:bodyPr/>
        <a:lstStyle/>
        <a:p>
          <a:endParaRPr lang="pl-PL"/>
        </a:p>
      </dgm:t>
    </dgm:pt>
    <dgm:pt modelId="{AA2440E2-9F82-4D9A-83AA-A71E84BB2E7D}" type="pres">
      <dgm:prSet presAssocID="{ED32DAF4-DC3F-4658-9C6A-FD9D7CB6267E}" presName="gear3" presStyleLbl="node1" presStyleIdx="2" presStyleCnt="3" custScaleX="124268" custScaleY="118542"/>
      <dgm:spPr/>
      <dgm:t>
        <a:bodyPr/>
        <a:lstStyle/>
        <a:p>
          <a:endParaRPr lang="pl-PL"/>
        </a:p>
      </dgm:t>
    </dgm:pt>
    <dgm:pt modelId="{07A1A149-4C72-4EBD-BEB7-30920F0FF41C}" type="pres">
      <dgm:prSet presAssocID="{ED32DAF4-DC3F-4658-9C6A-FD9D7CB6267E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29D870D-3B4E-4E48-828E-ECF306028EF9}" type="pres">
      <dgm:prSet presAssocID="{ED32DAF4-DC3F-4658-9C6A-FD9D7CB6267E}" presName="gear3srcNode" presStyleLbl="node1" presStyleIdx="2" presStyleCnt="3"/>
      <dgm:spPr/>
      <dgm:t>
        <a:bodyPr/>
        <a:lstStyle/>
        <a:p>
          <a:endParaRPr lang="pl-PL"/>
        </a:p>
      </dgm:t>
    </dgm:pt>
    <dgm:pt modelId="{9B662F49-87B8-40B3-AA38-99F11FF256ED}" type="pres">
      <dgm:prSet presAssocID="{ED32DAF4-DC3F-4658-9C6A-FD9D7CB6267E}" presName="gear3dstNode" presStyleLbl="node1" presStyleIdx="2" presStyleCnt="3"/>
      <dgm:spPr/>
      <dgm:t>
        <a:bodyPr/>
        <a:lstStyle/>
        <a:p>
          <a:endParaRPr lang="pl-PL"/>
        </a:p>
      </dgm:t>
    </dgm:pt>
    <dgm:pt modelId="{4E539DFD-8393-4F13-A8AC-094D7FEA67B7}" type="pres">
      <dgm:prSet presAssocID="{08880AEE-B4A7-4164-8370-D9A15FB0C1AE}" presName="connector1" presStyleLbl="sibTrans2D1" presStyleIdx="0" presStyleCnt="3" custLinFactNeighborX="870" custLinFactNeighborY="-5892"/>
      <dgm:spPr/>
      <dgm:t>
        <a:bodyPr/>
        <a:lstStyle/>
        <a:p>
          <a:endParaRPr lang="pl-PL"/>
        </a:p>
      </dgm:t>
    </dgm:pt>
    <dgm:pt modelId="{1D7AB51F-C255-422B-9815-D86BE7AB324E}" type="pres">
      <dgm:prSet presAssocID="{CCC36834-9DB9-4B98-8AB3-AE8EF06B6290}" presName="connector2" presStyleLbl="sibTrans2D1" presStyleIdx="1" presStyleCnt="3" custLinFactNeighborX="-15326" custLinFactNeighborY="-14305"/>
      <dgm:spPr/>
      <dgm:t>
        <a:bodyPr/>
        <a:lstStyle/>
        <a:p>
          <a:endParaRPr lang="pl-PL"/>
        </a:p>
      </dgm:t>
    </dgm:pt>
    <dgm:pt modelId="{7BA58ECD-71EF-428E-8F91-99ADECAB1D7E}" type="pres">
      <dgm:prSet presAssocID="{962A24F4-772E-4342-A506-5CB86D3F1FBF}" presName="connector3" presStyleLbl="sibTrans2D1" presStyleIdx="2" presStyleCnt="3" custLinFactNeighborX="-7077" custLinFactNeighborY="-5556"/>
      <dgm:spPr/>
      <dgm:t>
        <a:bodyPr/>
        <a:lstStyle/>
        <a:p>
          <a:endParaRPr lang="pl-PL"/>
        </a:p>
      </dgm:t>
    </dgm:pt>
  </dgm:ptLst>
  <dgm:cxnLst>
    <dgm:cxn modelId="{64167DA6-4824-4BA2-A55C-E399A3F82048}" type="presOf" srcId="{ED32DAF4-DC3F-4658-9C6A-FD9D7CB6267E}" destId="{AA2440E2-9F82-4D9A-83AA-A71E84BB2E7D}" srcOrd="0" destOrd="0" presId="urn:microsoft.com/office/officeart/2005/8/layout/gear1"/>
    <dgm:cxn modelId="{493EE968-1CDC-41D6-8DCD-47F52C02C8DE}" type="presOf" srcId="{962A24F4-772E-4342-A506-5CB86D3F1FBF}" destId="{7BA58ECD-71EF-428E-8F91-99ADECAB1D7E}" srcOrd="0" destOrd="0" presId="urn:microsoft.com/office/officeart/2005/8/layout/gear1"/>
    <dgm:cxn modelId="{D2E5807B-9079-41D9-82C0-252046CB63F6}" type="presOf" srcId="{59575AC5-D4A0-4312-96E2-AE2A0B7E5469}" destId="{35753915-6A1D-478D-929B-089DD953996F}" srcOrd="2" destOrd="0" presId="urn:microsoft.com/office/officeart/2005/8/layout/gear1"/>
    <dgm:cxn modelId="{222C1B39-6F17-418E-AA65-A51557DD8733}" srcId="{7BEC7C17-2A0B-4B7C-90D3-A61DCB4A5FF1}" destId="{59575AC5-D4A0-4312-96E2-AE2A0B7E5469}" srcOrd="0" destOrd="0" parTransId="{A858F377-1F55-48B3-96F0-918399C38C6B}" sibTransId="{08880AEE-B4A7-4164-8370-D9A15FB0C1AE}"/>
    <dgm:cxn modelId="{4139901F-75F3-42CE-997F-A3EC50DCE442}" type="presOf" srcId="{FD2C379E-E8C2-45D0-A068-88C0E611A6CB}" destId="{1B3E7F9F-BB3A-48CD-94FC-EA2399C70E91}" srcOrd="1" destOrd="0" presId="urn:microsoft.com/office/officeart/2005/8/layout/gear1"/>
    <dgm:cxn modelId="{F39E12AC-3685-4070-81DF-983234A764C2}" type="presOf" srcId="{59575AC5-D4A0-4312-96E2-AE2A0B7E5469}" destId="{264FD983-ED45-40A0-9344-176708A09E01}" srcOrd="0" destOrd="0" presId="urn:microsoft.com/office/officeart/2005/8/layout/gear1"/>
    <dgm:cxn modelId="{941705FB-B6B4-49AE-B028-FC74168017FB}" type="presOf" srcId="{59575AC5-D4A0-4312-96E2-AE2A0B7E5469}" destId="{DD545F56-D280-48AF-A6BF-EEB71A0214BB}" srcOrd="1" destOrd="0" presId="urn:microsoft.com/office/officeart/2005/8/layout/gear1"/>
    <dgm:cxn modelId="{56D5F40A-A243-40B0-BB5F-B1593A4EA002}" srcId="{7BEC7C17-2A0B-4B7C-90D3-A61DCB4A5FF1}" destId="{ED32DAF4-DC3F-4658-9C6A-FD9D7CB6267E}" srcOrd="2" destOrd="0" parTransId="{6A409672-037E-45EC-9B76-369CFFBBC0C8}" sibTransId="{962A24F4-772E-4342-A506-5CB86D3F1FBF}"/>
    <dgm:cxn modelId="{91922713-055B-4766-9C34-A345C8BC6E6B}" type="presOf" srcId="{ED32DAF4-DC3F-4658-9C6A-FD9D7CB6267E}" destId="{9B662F49-87B8-40B3-AA38-99F11FF256ED}" srcOrd="3" destOrd="0" presId="urn:microsoft.com/office/officeart/2005/8/layout/gear1"/>
    <dgm:cxn modelId="{A36E2B8E-5AF9-4FA8-B4B2-3AC9BDC0A465}" type="presOf" srcId="{7BEC7C17-2A0B-4B7C-90D3-A61DCB4A5FF1}" destId="{326D314D-1ECF-44B7-804F-1099FB50134E}" srcOrd="0" destOrd="0" presId="urn:microsoft.com/office/officeart/2005/8/layout/gear1"/>
    <dgm:cxn modelId="{D503D6A1-EFCD-4CF6-866B-0765FDF2D63A}" type="presOf" srcId="{ED32DAF4-DC3F-4658-9C6A-FD9D7CB6267E}" destId="{129D870D-3B4E-4E48-828E-ECF306028EF9}" srcOrd="2" destOrd="0" presId="urn:microsoft.com/office/officeart/2005/8/layout/gear1"/>
    <dgm:cxn modelId="{AC8EA01B-8270-4871-9E34-7684FCD1183D}" type="presOf" srcId="{08880AEE-B4A7-4164-8370-D9A15FB0C1AE}" destId="{4E539DFD-8393-4F13-A8AC-094D7FEA67B7}" srcOrd="0" destOrd="0" presId="urn:microsoft.com/office/officeart/2005/8/layout/gear1"/>
    <dgm:cxn modelId="{56683237-CE53-4584-AD6A-588CD37F20A0}" type="presOf" srcId="{ED32DAF4-DC3F-4658-9C6A-FD9D7CB6267E}" destId="{07A1A149-4C72-4EBD-BEB7-30920F0FF41C}" srcOrd="1" destOrd="0" presId="urn:microsoft.com/office/officeart/2005/8/layout/gear1"/>
    <dgm:cxn modelId="{3E68637C-BF02-4382-B17D-7F3A3E7BB64E}" type="presOf" srcId="{CCC36834-9DB9-4B98-8AB3-AE8EF06B6290}" destId="{1D7AB51F-C255-422B-9815-D86BE7AB324E}" srcOrd="0" destOrd="0" presId="urn:microsoft.com/office/officeart/2005/8/layout/gear1"/>
    <dgm:cxn modelId="{78801F68-C823-4798-A2DC-E0ABD0B6BC89}" srcId="{7BEC7C17-2A0B-4B7C-90D3-A61DCB4A5FF1}" destId="{FD2C379E-E8C2-45D0-A068-88C0E611A6CB}" srcOrd="1" destOrd="0" parTransId="{B641F31D-C2A1-4E80-9BD5-9FFEE44AE625}" sibTransId="{CCC36834-9DB9-4B98-8AB3-AE8EF06B6290}"/>
    <dgm:cxn modelId="{906CB467-5976-45CF-A832-CEB31D855F0C}" type="presOf" srcId="{FD2C379E-E8C2-45D0-A068-88C0E611A6CB}" destId="{EEF46C6C-9C92-4844-80EE-C606BB4C7E48}" srcOrd="2" destOrd="0" presId="urn:microsoft.com/office/officeart/2005/8/layout/gear1"/>
    <dgm:cxn modelId="{46AA7D04-51C2-4F06-A8E9-77DF68CEC59F}" type="presOf" srcId="{FD2C379E-E8C2-45D0-A068-88C0E611A6CB}" destId="{7D6C2B03-28EB-49BD-A8E8-80AFB0659AFD}" srcOrd="0" destOrd="0" presId="urn:microsoft.com/office/officeart/2005/8/layout/gear1"/>
    <dgm:cxn modelId="{44EBB76D-8254-496B-A089-E9129B42289B}" type="presParOf" srcId="{326D314D-1ECF-44B7-804F-1099FB50134E}" destId="{264FD983-ED45-40A0-9344-176708A09E01}" srcOrd="0" destOrd="0" presId="urn:microsoft.com/office/officeart/2005/8/layout/gear1"/>
    <dgm:cxn modelId="{C3EDF662-F2F5-4C30-98E1-5AF26D5E9AFC}" type="presParOf" srcId="{326D314D-1ECF-44B7-804F-1099FB50134E}" destId="{DD545F56-D280-48AF-A6BF-EEB71A0214BB}" srcOrd="1" destOrd="0" presId="urn:microsoft.com/office/officeart/2005/8/layout/gear1"/>
    <dgm:cxn modelId="{41B68555-1249-496C-B104-93F69BA594F3}" type="presParOf" srcId="{326D314D-1ECF-44B7-804F-1099FB50134E}" destId="{35753915-6A1D-478D-929B-089DD953996F}" srcOrd="2" destOrd="0" presId="urn:microsoft.com/office/officeart/2005/8/layout/gear1"/>
    <dgm:cxn modelId="{6AB9AD33-9049-49DC-B456-48DFE7206188}" type="presParOf" srcId="{326D314D-1ECF-44B7-804F-1099FB50134E}" destId="{7D6C2B03-28EB-49BD-A8E8-80AFB0659AFD}" srcOrd="3" destOrd="0" presId="urn:microsoft.com/office/officeart/2005/8/layout/gear1"/>
    <dgm:cxn modelId="{207F16F4-925E-407D-9E35-4F09B975F763}" type="presParOf" srcId="{326D314D-1ECF-44B7-804F-1099FB50134E}" destId="{1B3E7F9F-BB3A-48CD-94FC-EA2399C70E91}" srcOrd="4" destOrd="0" presId="urn:microsoft.com/office/officeart/2005/8/layout/gear1"/>
    <dgm:cxn modelId="{445EE5E1-30D7-462B-935B-DBB3E696DA0C}" type="presParOf" srcId="{326D314D-1ECF-44B7-804F-1099FB50134E}" destId="{EEF46C6C-9C92-4844-80EE-C606BB4C7E48}" srcOrd="5" destOrd="0" presId="urn:microsoft.com/office/officeart/2005/8/layout/gear1"/>
    <dgm:cxn modelId="{6B2FAB7B-92DC-4B92-8695-CFB5B63A5304}" type="presParOf" srcId="{326D314D-1ECF-44B7-804F-1099FB50134E}" destId="{AA2440E2-9F82-4D9A-83AA-A71E84BB2E7D}" srcOrd="6" destOrd="0" presId="urn:microsoft.com/office/officeart/2005/8/layout/gear1"/>
    <dgm:cxn modelId="{44150A3F-C5E6-4AC8-8F20-FFCE0CD63148}" type="presParOf" srcId="{326D314D-1ECF-44B7-804F-1099FB50134E}" destId="{07A1A149-4C72-4EBD-BEB7-30920F0FF41C}" srcOrd="7" destOrd="0" presId="urn:microsoft.com/office/officeart/2005/8/layout/gear1"/>
    <dgm:cxn modelId="{52610E3A-907D-4255-8535-894AA4DD5175}" type="presParOf" srcId="{326D314D-1ECF-44B7-804F-1099FB50134E}" destId="{129D870D-3B4E-4E48-828E-ECF306028EF9}" srcOrd="8" destOrd="0" presId="urn:microsoft.com/office/officeart/2005/8/layout/gear1"/>
    <dgm:cxn modelId="{51A3D359-AEAB-481C-A15A-9558E05F5E2C}" type="presParOf" srcId="{326D314D-1ECF-44B7-804F-1099FB50134E}" destId="{9B662F49-87B8-40B3-AA38-99F11FF256ED}" srcOrd="9" destOrd="0" presId="urn:microsoft.com/office/officeart/2005/8/layout/gear1"/>
    <dgm:cxn modelId="{C5FAE0B5-200E-407C-B992-5FA90E8B3C00}" type="presParOf" srcId="{326D314D-1ECF-44B7-804F-1099FB50134E}" destId="{4E539DFD-8393-4F13-A8AC-094D7FEA67B7}" srcOrd="10" destOrd="0" presId="urn:microsoft.com/office/officeart/2005/8/layout/gear1"/>
    <dgm:cxn modelId="{E97C271A-E169-4E68-9417-D71174D3D3BF}" type="presParOf" srcId="{326D314D-1ECF-44B7-804F-1099FB50134E}" destId="{1D7AB51F-C255-422B-9815-D86BE7AB324E}" srcOrd="11" destOrd="0" presId="urn:microsoft.com/office/officeart/2005/8/layout/gear1"/>
    <dgm:cxn modelId="{951B8208-5E30-45EE-A59F-39B1F5CA59B9}" type="presParOf" srcId="{326D314D-1ECF-44B7-804F-1099FB50134E}" destId="{7BA58ECD-71EF-428E-8F91-99ADECAB1D7E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E1F240-2BDD-4948-A534-008D0C42C3D0}">
      <dsp:nvSpPr>
        <dsp:cNvPr id="0" name=""/>
        <dsp:cNvSpPr/>
      </dsp:nvSpPr>
      <dsp:spPr>
        <a:xfrm>
          <a:off x="1294890" y="196637"/>
          <a:ext cx="3902501" cy="1355287"/>
        </a:xfrm>
        <a:prstGeom prst="ellipse">
          <a:avLst/>
        </a:prstGeom>
        <a:solidFill>
          <a:schemeClr val="accent4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15240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BFAB55-5FBE-4658-88D2-AC0D19437C53}">
      <dsp:nvSpPr>
        <dsp:cNvPr id="0" name=""/>
        <dsp:cNvSpPr/>
      </dsp:nvSpPr>
      <dsp:spPr>
        <a:xfrm>
          <a:off x="2903984" y="3472159"/>
          <a:ext cx="756298" cy="484031"/>
        </a:xfrm>
        <a:prstGeom prst="down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50800" h="190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F8C7F3F-901C-4A8F-91CE-B7F12C3A6E04}">
      <dsp:nvSpPr>
        <dsp:cNvPr id="0" name=""/>
        <dsp:cNvSpPr/>
      </dsp:nvSpPr>
      <dsp:spPr>
        <a:xfrm>
          <a:off x="864097" y="3902501"/>
          <a:ext cx="4776189" cy="9075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3000" b="1" kern="1200" dirty="0" smtClean="0"/>
            <a:t>System monitorowania KIS</a:t>
          </a:r>
          <a:endParaRPr lang="pl-PL" sz="3000" b="1" kern="1200" dirty="0"/>
        </a:p>
      </dsp:txBody>
      <dsp:txXfrm>
        <a:off x="864097" y="3902501"/>
        <a:ext cx="4776189" cy="907558"/>
      </dsp:txXfrm>
    </dsp:sp>
    <dsp:sp modelId="{999363A6-4105-4592-9FEE-39BBA87FA8CC}">
      <dsp:nvSpPr>
        <dsp:cNvPr id="0" name=""/>
        <dsp:cNvSpPr/>
      </dsp:nvSpPr>
      <dsp:spPr>
        <a:xfrm>
          <a:off x="1751854" y="1599958"/>
          <a:ext cx="2907654" cy="1518967"/>
        </a:xfrm>
        <a:prstGeom prst="ellipse">
          <a:avLst/>
        </a:prstGeom>
        <a:solidFill>
          <a:srgbClr val="00B0F0"/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altLang="pl-PL" sz="1600" b="1" kern="1200" dirty="0" smtClean="0"/>
            <a:t>Dane w zakresie monitorowania KIS/RIS:  m.in. lista wskaźników wspólnych, dane z PO</a:t>
          </a:r>
          <a:endParaRPr lang="pl-PL" altLang="pl-PL" sz="1600" b="1" kern="1200" dirty="0"/>
        </a:p>
      </dsp:txBody>
      <dsp:txXfrm>
        <a:off x="2177670" y="1822406"/>
        <a:ext cx="2056022" cy="1074071"/>
      </dsp:txXfrm>
    </dsp:sp>
    <dsp:sp modelId="{FD1DA41A-A66C-4175-A3A3-03E783D2F099}">
      <dsp:nvSpPr>
        <dsp:cNvPr id="0" name=""/>
        <dsp:cNvSpPr/>
      </dsp:nvSpPr>
      <dsp:spPr>
        <a:xfrm>
          <a:off x="1175796" y="375819"/>
          <a:ext cx="2632963" cy="1361337"/>
        </a:xfrm>
        <a:prstGeom prst="ellipse">
          <a:avLst/>
        </a:prstGeom>
        <a:gradFill rotWithShape="0">
          <a:gsLst>
            <a:gs pos="0">
              <a:schemeClr val="accent4">
                <a:hueOff val="-6599927"/>
                <a:satOff val="45000"/>
                <a:lumOff val="-1352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-6599927"/>
                <a:satOff val="45000"/>
                <a:lumOff val="-1352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-6599927"/>
                <a:satOff val="45000"/>
                <a:lumOff val="-1352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altLang="pl-PL" sz="1600" b="1" kern="1200" dirty="0" smtClean="0"/>
            <a:t>Wyniki badań i ewaluacji </a:t>
          </a:r>
          <a:r>
            <a:rPr lang="pl-PL" altLang="pl-PL" sz="1600" kern="1200" dirty="0" smtClean="0"/>
            <a:t>– m.in. analizy, ewaluacje tematyczne</a:t>
          </a:r>
          <a:endParaRPr lang="pl-PL" altLang="pl-PL" sz="1600" kern="1200" dirty="0"/>
        </a:p>
      </dsp:txBody>
      <dsp:txXfrm>
        <a:off x="1561385" y="575182"/>
        <a:ext cx="1861785" cy="962611"/>
      </dsp:txXfrm>
    </dsp:sp>
    <dsp:sp modelId="{384832B1-08B3-47FE-9902-D0CE79DBD087}">
      <dsp:nvSpPr>
        <dsp:cNvPr id="0" name=""/>
        <dsp:cNvSpPr/>
      </dsp:nvSpPr>
      <dsp:spPr>
        <a:xfrm>
          <a:off x="3408046" y="591840"/>
          <a:ext cx="2383062" cy="1361337"/>
        </a:xfrm>
        <a:prstGeom prst="ellipse">
          <a:avLst/>
        </a:prstGeom>
        <a:gradFill rotWithShape="0">
          <a:gsLst>
            <a:gs pos="0">
              <a:schemeClr val="accent4">
                <a:hueOff val="-13199854"/>
                <a:satOff val="90000"/>
                <a:lumOff val="-2705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-13199854"/>
                <a:satOff val="90000"/>
                <a:lumOff val="-2705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-13199854"/>
                <a:satOff val="90000"/>
                <a:lumOff val="-2705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b="1" kern="1200" smtClean="0"/>
            <a:t>Dane z gremiów PPO m.in. GR ds. KIS, GK ds. KIS</a:t>
          </a:r>
          <a:endParaRPr lang="pl-PL" sz="1600" b="1" kern="1200" dirty="0"/>
        </a:p>
      </dsp:txBody>
      <dsp:txXfrm>
        <a:off x="3757037" y="791203"/>
        <a:ext cx="1685080" cy="962611"/>
      </dsp:txXfrm>
    </dsp:sp>
    <dsp:sp modelId="{94078B99-A5D1-4C69-BD13-B2EB9E294E6D}">
      <dsp:nvSpPr>
        <dsp:cNvPr id="0" name=""/>
        <dsp:cNvSpPr/>
      </dsp:nvSpPr>
      <dsp:spPr>
        <a:xfrm>
          <a:off x="21" y="231817"/>
          <a:ext cx="6504362" cy="3388218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354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756CFB-E004-4762-B736-852788050C25}">
      <dsp:nvSpPr>
        <dsp:cNvPr id="0" name=""/>
        <dsp:cNvSpPr/>
      </dsp:nvSpPr>
      <dsp:spPr>
        <a:xfrm>
          <a:off x="2459188" y="2855174"/>
          <a:ext cx="1946047" cy="1217730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b="1" kern="1200" dirty="0" smtClean="0"/>
            <a:t>Monitorowanie KIS</a:t>
          </a:r>
          <a:endParaRPr lang="pl-PL" sz="1600" b="1" kern="1200" dirty="0"/>
        </a:p>
      </dsp:txBody>
      <dsp:txXfrm>
        <a:off x="2744180" y="3033506"/>
        <a:ext cx="1376063" cy="861066"/>
      </dsp:txXfrm>
    </dsp:sp>
    <dsp:sp modelId="{26C699C7-4871-4C69-9971-F5C1E8703EFF}">
      <dsp:nvSpPr>
        <dsp:cNvPr id="0" name=""/>
        <dsp:cNvSpPr/>
      </dsp:nvSpPr>
      <dsp:spPr>
        <a:xfrm rot="10732972">
          <a:off x="597177" y="3259716"/>
          <a:ext cx="1760222" cy="48488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7257014-B222-4C0D-9161-575E34C65912}">
      <dsp:nvSpPr>
        <dsp:cNvPr id="0" name=""/>
        <dsp:cNvSpPr/>
      </dsp:nvSpPr>
      <dsp:spPr>
        <a:xfrm>
          <a:off x="1869" y="3042938"/>
          <a:ext cx="1190950" cy="95276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200" kern="1200" dirty="0" smtClean="0"/>
            <a:t>PO PC</a:t>
          </a:r>
          <a:endParaRPr lang="pl-PL" sz="2200" kern="1200" dirty="0"/>
        </a:p>
      </dsp:txBody>
      <dsp:txXfrm>
        <a:off x="29774" y="3070843"/>
        <a:ext cx="1135140" cy="896950"/>
      </dsp:txXfrm>
    </dsp:sp>
    <dsp:sp modelId="{230EC1E2-FFA3-4C1E-AE86-0C9FA948D102}">
      <dsp:nvSpPr>
        <dsp:cNvPr id="0" name=""/>
        <dsp:cNvSpPr/>
      </dsp:nvSpPr>
      <dsp:spPr>
        <a:xfrm rot="12541379">
          <a:off x="859958" y="2312195"/>
          <a:ext cx="1866408" cy="48488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8FF768B-CD45-4552-9C94-361BCC5D8A5F}">
      <dsp:nvSpPr>
        <dsp:cNvPr id="0" name=""/>
        <dsp:cNvSpPr/>
      </dsp:nvSpPr>
      <dsp:spPr>
        <a:xfrm>
          <a:off x="381669" y="1625505"/>
          <a:ext cx="1190950" cy="95276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200" kern="1200" dirty="0" smtClean="0"/>
            <a:t>RPO</a:t>
          </a:r>
          <a:endParaRPr lang="pl-PL" sz="2200" kern="1200" dirty="0"/>
        </a:p>
      </dsp:txBody>
      <dsp:txXfrm>
        <a:off x="409574" y="1653410"/>
        <a:ext cx="1135140" cy="896950"/>
      </dsp:txXfrm>
    </dsp:sp>
    <dsp:sp modelId="{99FB1F94-BD94-4527-ACD2-A65770D79467}">
      <dsp:nvSpPr>
        <dsp:cNvPr id="0" name=""/>
        <dsp:cNvSpPr/>
      </dsp:nvSpPr>
      <dsp:spPr>
        <a:xfrm rot="14365907">
          <a:off x="1521614" y="1685860"/>
          <a:ext cx="2007031" cy="48488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A87FA29-6C6C-4CC5-A6BE-87BE43DE65DB}">
      <dsp:nvSpPr>
        <dsp:cNvPr id="0" name=""/>
        <dsp:cNvSpPr/>
      </dsp:nvSpPr>
      <dsp:spPr>
        <a:xfrm>
          <a:off x="1419303" y="587872"/>
          <a:ext cx="1190950" cy="95276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200" kern="1200" dirty="0" smtClean="0"/>
            <a:t>PO IR</a:t>
          </a:r>
          <a:endParaRPr lang="pl-PL" sz="2200" kern="1200" dirty="0"/>
        </a:p>
      </dsp:txBody>
      <dsp:txXfrm>
        <a:off x="1447208" y="615777"/>
        <a:ext cx="1135140" cy="896950"/>
      </dsp:txXfrm>
    </dsp:sp>
    <dsp:sp modelId="{DCF2CE9B-9E51-464E-91D5-55D2E7D3B071}">
      <dsp:nvSpPr>
        <dsp:cNvPr id="0" name=""/>
        <dsp:cNvSpPr/>
      </dsp:nvSpPr>
      <dsp:spPr>
        <a:xfrm rot="16200000">
          <a:off x="2406545" y="1467674"/>
          <a:ext cx="2051332" cy="48488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408FC49-DF9C-4163-9FCE-EFA1C686E43D}">
      <dsp:nvSpPr>
        <dsp:cNvPr id="0" name=""/>
        <dsp:cNvSpPr/>
      </dsp:nvSpPr>
      <dsp:spPr>
        <a:xfrm>
          <a:off x="2836736" y="208071"/>
          <a:ext cx="1190950" cy="95276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200" kern="1200" dirty="0" smtClean="0"/>
            <a:t>PO IŚ</a:t>
          </a:r>
          <a:endParaRPr lang="pl-PL" sz="2200" kern="1200" dirty="0"/>
        </a:p>
      </dsp:txBody>
      <dsp:txXfrm>
        <a:off x="2864641" y="235976"/>
        <a:ext cx="1135140" cy="896950"/>
      </dsp:txXfrm>
    </dsp:sp>
    <dsp:sp modelId="{36D7EFF9-C42B-431E-A571-A7EAA90EBECE}">
      <dsp:nvSpPr>
        <dsp:cNvPr id="0" name=""/>
        <dsp:cNvSpPr/>
      </dsp:nvSpPr>
      <dsp:spPr>
        <a:xfrm rot="18034093">
          <a:off x="3335777" y="1685860"/>
          <a:ext cx="2007031" cy="48488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25C8603-48D7-4E0C-877D-4C4D9AA75A4D}">
      <dsp:nvSpPr>
        <dsp:cNvPr id="0" name=""/>
        <dsp:cNvSpPr/>
      </dsp:nvSpPr>
      <dsp:spPr>
        <a:xfrm>
          <a:off x="4254170" y="587872"/>
          <a:ext cx="1190950" cy="95276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200" kern="1200" dirty="0" smtClean="0"/>
            <a:t>PO WER</a:t>
          </a:r>
          <a:endParaRPr lang="pl-PL" sz="2200" kern="1200" dirty="0"/>
        </a:p>
      </dsp:txBody>
      <dsp:txXfrm>
        <a:off x="4282075" y="615777"/>
        <a:ext cx="1135140" cy="896950"/>
      </dsp:txXfrm>
    </dsp:sp>
    <dsp:sp modelId="{06CB6107-90BD-46C9-AC37-59167C3A9722}">
      <dsp:nvSpPr>
        <dsp:cNvPr id="0" name=""/>
        <dsp:cNvSpPr/>
      </dsp:nvSpPr>
      <dsp:spPr>
        <a:xfrm rot="19858621">
          <a:off x="4138057" y="2312195"/>
          <a:ext cx="1866408" cy="48488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6417737-BC89-4935-A92A-BAF84297C7A0}">
      <dsp:nvSpPr>
        <dsp:cNvPr id="0" name=""/>
        <dsp:cNvSpPr/>
      </dsp:nvSpPr>
      <dsp:spPr>
        <a:xfrm>
          <a:off x="5291803" y="1625505"/>
          <a:ext cx="1190950" cy="95276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200" kern="1200" dirty="0" smtClean="0"/>
            <a:t>PO PW</a:t>
          </a:r>
          <a:endParaRPr lang="pl-PL" sz="2200" kern="1200" dirty="0"/>
        </a:p>
      </dsp:txBody>
      <dsp:txXfrm>
        <a:off x="5319708" y="1653410"/>
        <a:ext cx="1135140" cy="896950"/>
      </dsp:txXfrm>
    </dsp:sp>
    <dsp:sp modelId="{BFC7FE57-74DE-4CAD-BDB0-3C315F5CA8E3}">
      <dsp:nvSpPr>
        <dsp:cNvPr id="0" name=""/>
        <dsp:cNvSpPr/>
      </dsp:nvSpPr>
      <dsp:spPr>
        <a:xfrm rot="67028">
          <a:off x="4507023" y="3259716"/>
          <a:ext cx="1760222" cy="48488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16A76B7-3558-4FA1-BF74-B9C56345D1FD}">
      <dsp:nvSpPr>
        <dsp:cNvPr id="0" name=""/>
        <dsp:cNvSpPr/>
      </dsp:nvSpPr>
      <dsp:spPr>
        <a:xfrm>
          <a:off x="5671603" y="3042938"/>
          <a:ext cx="1190950" cy="95276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200" kern="1200" dirty="0" smtClean="0"/>
            <a:t>Horyzont 2020</a:t>
          </a:r>
          <a:endParaRPr lang="pl-PL" sz="2200" kern="1200" dirty="0"/>
        </a:p>
      </dsp:txBody>
      <dsp:txXfrm>
        <a:off x="5699508" y="3070843"/>
        <a:ext cx="1135140" cy="89695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5212F1-30E1-4966-BD1D-3DFC060ACE0C}">
      <dsp:nvSpPr>
        <dsp:cNvPr id="0" name=""/>
        <dsp:cNvSpPr/>
      </dsp:nvSpPr>
      <dsp:spPr>
        <a:xfrm>
          <a:off x="1467523" y="0"/>
          <a:ext cx="1892370" cy="1051316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800" kern="1200" dirty="0" smtClean="0"/>
            <a:t>Liderzy</a:t>
          </a:r>
          <a:endParaRPr lang="pl-PL" sz="2800" kern="1200" dirty="0"/>
        </a:p>
      </dsp:txBody>
      <dsp:txXfrm>
        <a:off x="1498315" y="30792"/>
        <a:ext cx="1830786" cy="989732"/>
      </dsp:txXfrm>
    </dsp:sp>
    <dsp:sp modelId="{DA7CC531-22B4-4CD8-B050-B97A0DD52BD2}">
      <dsp:nvSpPr>
        <dsp:cNvPr id="0" name=""/>
        <dsp:cNvSpPr/>
      </dsp:nvSpPr>
      <dsp:spPr>
        <a:xfrm>
          <a:off x="4200946" y="0"/>
          <a:ext cx="1892370" cy="1051316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122296"/>
            <a:satOff val="-1966"/>
            <a:lumOff val="1939"/>
            <a:alphaOff val="0"/>
          </a:schemeClr>
        </a:solidFill>
        <a:ln w="6350" cap="flat" cmpd="sng" algn="ctr">
          <a:solidFill>
            <a:schemeClr val="accent3">
              <a:tint val="40000"/>
              <a:alpha val="90000"/>
              <a:hueOff val="122296"/>
              <a:satOff val="-1966"/>
              <a:lumOff val="1939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800" kern="1200" dirty="0" smtClean="0"/>
            <a:t>Maruderzy</a:t>
          </a:r>
          <a:endParaRPr lang="pl-PL" sz="2800" kern="1200" dirty="0"/>
        </a:p>
      </dsp:txBody>
      <dsp:txXfrm>
        <a:off x="4231738" y="30792"/>
        <a:ext cx="1830786" cy="989732"/>
      </dsp:txXfrm>
    </dsp:sp>
    <dsp:sp modelId="{A3E5684F-E7C0-4405-BA6E-0221DA9223F8}">
      <dsp:nvSpPr>
        <dsp:cNvPr id="0" name=""/>
        <dsp:cNvSpPr/>
      </dsp:nvSpPr>
      <dsp:spPr>
        <a:xfrm>
          <a:off x="3384378" y="4468096"/>
          <a:ext cx="788487" cy="788487"/>
        </a:xfrm>
        <a:prstGeom prst="triangle">
          <a:avLst/>
        </a:prstGeom>
        <a:solidFill>
          <a:schemeClr val="accent3">
            <a:tint val="40000"/>
            <a:alpha val="90000"/>
            <a:hueOff val="244592"/>
            <a:satOff val="-3932"/>
            <a:lumOff val="3878"/>
            <a:alphaOff val="0"/>
          </a:schemeClr>
        </a:solidFill>
        <a:ln w="6350" cap="flat" cmpd="sng" algn="ctr">
          <a:solidFill>
            <a:schemeClr val="accent3">
              <a:tint val="40000"/>
              <a:alpha val="90000"/>
              <a:hueOff val="244592"/>
              <a:satOff val="-3932"/>
              <a:lumOff val="3878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3D1DFB3A-B1A5-4FDF-A878-28EBECCFA7B7}">
      <dsp:nvSpPr>
        <dsp:cNvPr id="0" name=""/>
        <dsp:cNvSpPr/>
      </dsp:nvSpPr>
      <dsp:spPr>
        <a:xfrm rot="950743">
          <a:off x="1235721" y="4035314"/>
          <a:ext cx="5233006" cy="520731"/>
        </a:xfrm>
        <a:prstGeom prst="rect">
          <a:avLst/>
        </a:prstGeom>
        <a:solidFill>
          <a:schemeClr val="accent3">
            <a:tint val="40000"/>
            <a:alpha val="90000"/>
            <a:hueOff val="366888"/>
            <a:satOff val="-5898"/>
            <a:lumOff val="5817"/>
            <a:alphaOff val="0"/>
          </a:schemeClr>
        </a:solidFill>
        <a:ln w="6350" cap="flat" cmpd="sng" algn="ctr">
          <a:solidFill>
            <a:schemeClr val="accent3">
              <a:tint val="40000"/>
              <a:alpha val="90000"/>
              <a:hueOff val="366888"/>
              <a:satOff val="-5898"/>
              <a:lumOff val="5817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3137E24-6C86-49A2-B9DD-0E7247E38DD8}">
      <dsp:nvSpPr>
        <dsp:cNvPr id="0" name=""/>
        <dsp:cNvSpPr/>
      </dsp:nvSpPr>
      <dsp:spPr>
        <a:xfrm rot="21360000">
          <a:off x="1477194" y="3264371"/>
          <a:ext cx="1877987" cy="648552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kern="1200" dirty="0" smtClean="0"/>
            <a:t>KIS 8 (765)  BUD</a:t>
          </a:r>
          <a:endParaRPr lang="pl-PL" sz="1600" kern="1200" dirty="0"/>
        </a:p>
      </dsp:txBody>
      <dsp:txXfrm>
        <a:off x="1508854" y="3296031"/>
        <a:ext cx="1814667" cy="585232"/>
      </dsp:txXfrm>
    </dsp:sp>
    <dsp:sp modelId="{5FA3EC5A-51B7-4BA5-AD80-CB16BD278CD2}">
      <dsp:nvSpPr>
        <dsp:cNvPr id="0" name=""/>
        <dsp:cNvSpPr/>
      </dsp:nvSpPr>
      <dsp:spPr>
        <a:xfrm rot="21360000">
          <a:off x="1401010" y="2578733"/>
          <a:ext cx="1877987" cy="648552"/>
        </a:xfrm>
        <a:prstGeom prst="roundRect">
          <a:avLst/>
        </a:prstGeom>
        <a:gradFill rotWithShape="0">
          <a:gsLst>
            <a:gs pos="0">
              <a:schemeClr val="accent3">
                <a:hueOff val="177586"/>
                <a:satOff val="-11951"/>
                <a:lumOff val="614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177586"/>
                <a:satOff val="-11951"/>
                <a:lumOff val="614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177586"/>
                <a:satOff val="-11951"/>
                <a:lumOff val="614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kern="1200" dirty="0" smtClean="0"/>
            <a:t>KIS 19 (804) ITK</a:t>
          </a:r>
          <a:endParaRPr lang="pl-PL" sz="1600" kern="1200" dirty="0"/>
        </a:p>
      </dsp:txBody>
      <dsp:txXfrm>
        <a:off x="1432670" y="2610393"/>
        <a:ext cx="1814667" cy="585232"/>
      </dsp:txXfrm>
    </dsp:sp>
    <dsp:sp modelId="{B5AF6B27-FDC3-4D77-B41A-31281049FA98}">
      <dsp:nvSpPr>
        <dsp:cNvPr id="0" name=""/>
        <dsp:cNvSpPr/>
      </dsp:nvSpPr>
      <dsp:spPr>
        <a:xfrm rot="21360000">
          <a:off x="1324826" y="1893087"/>
          <a:ext cx="1877987" cy="648552"/>
        </a:xfrm>
        <a:prstGeom prst="roundRect">
          <a:avLst/>
        </a:prstGeom>
        <a:gradFill rotWithShape="0">
          <a:gsLst>
            <a:gs pos="0">
              <a:schemeClr val="accent3">
                <a:hueOff val="355172"/>
                <a:satOff val="-23902"/>
                <a:lumOff val="1228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355172"/>
                <a:satOff val="-23902"/>
                <a:lumOff val="1228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355172"/>
                <a:satOff val="-23902"/>
                <a:lumOff val="1228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kern="1200" dirty="0" smtClean="0"/>
            <a:t>KIS 17 (954) ROB</a:t>
          </a:r>
          <a:endParaRPr lang="pl-PL" sz="1600" kern="1200" dirty="0"/>
        </a:p>
      </dsp:txBody>
      <dsp:txXfrm>
        <a:off x="1356486" y="1924747"/>
        <a:ext cx="1814667" cy="585232"/>
      </dsp:txXfrm>
    </dsp:sp>
    <dsp:sp modelId="{E2F7A8BA-F233-4100-86E7-A86B1EBCDD06}">
      <dsp:nvSpPr>
        <dsp:cNvPr id="0" name=""/>
        <dsp:cNvSpPr/>
      </dsp:nvSpPr>
      <dsp:spPr>
        <a:xfrm rot="21360000">
          <a:off x="1248641" y="1207449"/>
          <a:ext cx="1877987" cy="648552"/>
        </a:xfrm>
        <a:prstGeom prst="roundRect">
          <a:avLst/>
        </a:prstGeom>
        <a:gradFill rotWithShape="0">
          <a:gsLst>
            <a:gs pos="0">
              <a:schemeClr val="accent3">
                <a:hueOff val="532759"/>
                <a:satOff val="-35853"/>
                <a:lumOff val="1843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532759"/>
                <a:satOff val="-35853"/>
                <a:lumOff val="1843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532759"/>
                <a:satOff val="-35853"/>
                <a:lumOff val="1843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kern="1200" dirty="0" smtClean="0"/>
            <a:t>KIS 15 (1038) GEO</a:t>
          </a:r>
          <a:endParaRPr lang="pl-PL" sz="1600" kern="1200" dirty="0"/>
        </a:p>
      </dsp:txBody>
      <dsp:txXfrm>
        <a:off x="1280301" y="1239109"/>
        <a:ext cx="1814667" cy="585232"/>
      </dsp:txXfrm>
    </dsp:sp>
    <dsp:sp modelId="{F4CE5E76-DD84-40A4-A688-EA1782B3EC41}">
      <dsp:nvSpPr>
        <dsp:cNvPr id="0" name=""/>
        <dsp:cNvSpPr/>
      </dsp:nvSpPr>
      <dsp:spPr>
        <a:xfrm rot="21360000">
          <a:off x="4155572" y="3344819"/>
          <a:ext cx="1877987" cy="648552"/>
        </a:xfrm>
        <a:prstGeom prst="roundRect">
          <a:avLst/>
        </a:prstGeom>
        <a:gradFill rotWithShape="0">
          <a:gsLst>
            <a:gs pos="0">
              <a:schemeClr val="accent3">
                <a:hueOff val="710345"/>
                <a:satOff val="-47805"/>
                <a:lumOff val="2457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710345"/>
                <a:satOff val="-47805"/>
                <a:lumOff val="2457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710345"/>
                <a:satOff val="-47805"/>
                <a:lumOff val="2457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kern="1200" dirty="0" smtClean="0"/>
            <a:t>KIS  18 (86) FOTONIKA</a:t>
          </a:r>
          <a:endParaRPr lang="pl-PL" sz="1600" kern="1200" dirty="0"/>
        </a:p>
      </dsp:txBody>
      <dsp:txXfrm>
        <a:off x="4187232" y="3376479"/>
        <a:ext cx="1814667" cy="585232"/>
      </dsp:txXfrm>
    </dsp:sp>
    <dsp:sp modelId="{A4DABE77-EF1C-47D7-BEFD-F839E9F728E0}">
      <dsp:nvSpPr>
        <dsp:cNvPr id="0" name=""/>
        <dsp:cNvSpPr/>
      </dsp:nvSpPr>
      <dsp:spPr>
        <a:xfrm rot="21360000">
          <a:off x="4103006" y="2650950"/>
          <a:ext cx="1877987" cy="648552"/>
        </a:xfrm>
        <a:prstGeom prst="roundRect">
          <a:avLst/>
        </a:prstGeom>
        <a:gradFill rotWithShape="0">
          <a:gsLst>
            <a:gs pos="0">
              <a:schemeClr val="accent3">
                <a:hueOff val="887931"/>
                <a:satOff val="-59756"/>
                <a:lumOff val="3072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887931"/>
                <a:satOff val="-59756"/>
                <a:lumOff val="3072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887931"/>
                <a:satOff val="-59756"/>
                <a:lumOff val="3072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kern="1200" dirty="0" smtClean="0"/>
            <a:t>KIS 16(61) (ELE)</a:t>
          </a:r>
          <a:endParaRPr lang="pl-PL" sz="1600" kern="1200" dirty="0"/>
        </a:p>
      </dsp:txBody>
      <dsp:txXfrm>
        <a:off x="4134666" y="2682610"/>
        <a:ext cx="1814667" cy="585232"/>
      </dsp:txXfrm>
    </dsp:sp>
    <dsp:sp modelId="{F23232DB-F0E7-4C79-8D01-F6484521FC26}">
      <dsp:nvSpPr>
        <dsp:cNvPr id="0" name=""/>
        <dsp:cNvSpPr/>
      </dsp:nvSpPr>
      <dsp:spPr>
        <a:xfrm rot="21360000">
          <a:off x="4050440" y="1957081"/>
          <a:ext cx="1877987" cy="648552"/>
        </a:xfrm>
        <a:prstGeom prst="roundRect">
          <a:avLst/>
        </a:prstGeom>
        <a:gradFill rotWithShape="0">
          <a:gsLst>
            <a:gs pos="0">
              <a:schemeClr val="accent3">
                <a:hueOff val="1065517"/>
                <a:satOff val="-71707"/>
                <a:lumOff val="3686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1065517"/>
                <a:satOff val="-71707"/>
                <a:lumOff val="3686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1065517"/>
                <a:satOff val="-71707"/>
                <a:lumOff val="3686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kern="1200" dirty="0" smtClean="0"/>
            <a:t>KIS 20 (57) (ITM) </a:t>
          </a:r>
          <a:endParaRPr lang="pl-PL" sz="1600" kern="1200" dirty="0"/>
        </a:p>
      </dsp:txBody>
      <dsp:txXfrm>
        <a:off x="4082100" y="1988741"/>
        <a:ext cx="1814667" cy="58523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5212F1-30E1-4966-BD1D-3DFC060ACE0C}">
      <dsp:nvSpPr>
        <dsp:cNvPr id="0" name=""/>
        <dsp:cNvSpPr/>
      </dsp:nvSpPr>
      <dsp:spPr>
        <a:xfrm>
          <a:off x="1467523" y="0"/>
          <a:ext cx="1892370" cy="1051316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800" kern="1200" dirty="0" smtClean="0"/>
            <a:t>Liderzy</a:t>
          </a:r>
          <a:endParaRPr lang="pl-PL" sz="2800" kern="1200" dirty="0"/>
        </a:p>
      </dsp:txBody>
      <dsp:txXfrm>
        <a:off x="1498315" y="30792"/>
        <a:ext cx="1830786" cy="989732"/>
      </dsp:txXfrm>
    </dsp:sp>
    <dsp:sp modelId="{DA7CC531-22B4-4CD8-B050-B97A0DD52BD2}">
      <dsp:nvSpPr>
        <dsp:cNvPr id="0" name=""/>
        <dsp:cNvSpPr/>
      </dsp:nvSpPr>
      <dsp:spPr>
        <a:xfrm>
          <a:off x="4200946" y="0"/>
          <a:ext cx="1892370" cy="1051316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122296"/>
            <a:satOff val="-1966"/>
            <a:lumOff val="1939"/>
            <a:alphaOff val="0"/>
          </a:schemeClr>
        </a:solidFill>
        <a:ln w="6350" cap="flat" cmpd="sng" algn="ctr">
          <a:solidFill>
            <a:schemeClr val="accent3">
              <a:tint val="40000"/>
              <a:alpha val="90000"/>
              <a:hueOff val="122296"/>
              <a:satOff val="-1966"/>
              <a:lumOff val="1939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800" kern="1200" dirty="0" smtClean="0"/>
            <a:t>Maruderzy</a:t>
          </a:r>
          <a:endParaRPr lang="pl-PL" sz="2800" kern="1200" dirty="0"/>
        </a:p>
      </dsp:txBody>
      <dsp:txXfrm>
        <a:off x="4231738" y="30792"/>
        <a:ext cx="1830786" cy="989732"/>
      </dsp:txXfrm>
    </dsp:sp>
    <dsp:sp modelId="{A3E5684F-E7C0-4405-BA6E-0221DA9223F8}">
      <dsp:nvSpPr>
        <dsp:cNvPr id="0" name=""/>
        <dsp:cNvSpPr/>
      </dsp:nvSpPr>
      <dsp:spPr>
        <a:xfrm>
          <a:off x="3384378" y="4468096"/>
          <a:ext cx="788487" cy="788487"/>
        </a:xfrm>
        <a:prstGeom prst="triangle">
          <a:avLst/>
        </a:prstGeom>
        <a:solidFill>
          <a:schemeClr val="accent3">
            <a:tint val="40000"/>
            <a:alpha val="90000"/>
            <a:hueOff val="244592"/>
            <a:satOff val="-3932"/>
            <a:lumOff val="3878"/>
            <a:alphaOff val="0"/>
          </a:schemeClr>
        </a:solidFill>
        <a:ln w="6350" cap="flat" cmpd="sng" algn="ctr">
          <a:solidFill>
            <a:schemeClr val="accent3">
              <a:tint val="40000"/>
              <a:alpha val="90000"/>
              <a:hueOff val="244592"/>
              <a:satOff val="-3932"/>
              <a:lumOff val="3878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3D1DFB3A-B1A5-4FDF-A878-28EBECCFA7B7}">
      <dsp:nvSpPr>
        <dsp:cNvPr id="0" name=""/>
        <dsp:cNvSpPr/>
      </dsp:nvSpPr>
      <dsp:spPr>
        <a:xfrm rot="950743">
          <a:off x="1235721" y="4035314"/>
          <a:ext cx="5233006" cy="520731"/>
        </a:xfrm>
        <a:prstGeom prst="rect">
          <a:avLst/>
        </a:prstGeom>
        <a:solidFill>
          <a:schemeClr val="accent3">
            <a:tint val="40000"/>
            <a:alpha val="90000"/>
            <a:hueOff val="366888"/>
            <a:satOff val="-5898"/>
            <a:lumOff val="5817"/>
            <a:alphaOff val="0"/>
          </a:schemeClr>
        </a:solidFill>
        <a:ln w="6350" cap="flat" cmpd="sng" algn="ctr">
          <a:solidFill>
            <a:schemeClr val="accent3">
              <a:tint val="40000"/>
              <a:alpha val="90000"/>
              <a:hueOff val="366888"/>
              <a:satOff val="-5898"/>
              <a:lumOff val="5817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3137E24-6C86-49A2-B9DD-0E7247E38DD8}">
      <dsp:nvSpPr>
        <dsp:cNvPr id="0" name=""/>
        <dsp:cNvSpPr/>
      </dsp:nvSpPr>
      <dsp:spPr>
        <a:xfrm rot="21360000">
          <a:off x="1477194" y="3264371"/>
          <a:ext cx="1877987" cy="648552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kern="1200" dirty="0" smtClean="0"/>
            <a:t>KIS 4 (RSLD), KIS 5 (ZYWN), KIS 8 (BUD), KIS 17 (ROB)</a:t>
          </a:r>
          <a:endParaRPr lang="pl-PL" sz="1200" kern="1200" dirty="0"/>
        </a:p>
      </dsp:txBody>
      <dsp:txXfrm>
        <a:off x="1508854" y="3296031"/>
        <a:ext cx="1814667" cy="585232"/>
      </dsp:txXfrm>
    </dsp:sp>
    <dsp:sp modelId="{5FA3EC5A-51B7-4BA5-AD80-CB16BD278CD2}">
      <dsp:nvSpPr>
        <dsp:cNvPr id="0" name=""/>
        <dsp:cNvSpPr/>
      </dsp:nvSpPr>
      <dsp:spPr>
        <a:xfrm rot="21360000">
          <a:off x="1401010" y="2578733"/>
          <a:ext cx="1877987" cy="648552"/>
        </a:xfrm>
        <a:prstGeom prst="roundRect">
          <a:avLst/>
        </a:prstGeom>
        <a:gradFill rotWithShape="0">
          <a:gsLst>
            <a:gs pos="0">
              <a:schemeClr val="accent3">
                <a:hueOff val="177586"/>
                <a:satOff val="-11951"/>
                <a:lumOff val="614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177586"/>
                <a:satOff val="-11951"/>
                <a:lumOff val="614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177586"/>
                <a:satOff val="-11951"/>
                <a:lumOff val="614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kern="1200" dirty="0" smtClean="0"/>
            <a:t>KIS  6 (BIO) i KIS 13 (NANO)</a:t>
          </a:r>
          <a:endParaRPr lang="pl-PL" sz="1200" kern="1200" dirty="0"/>
        </a:p>
      </dsp:txBody>
      <dsp:txXfrm>
        <a:off x="1432670" y="2610393"/>
        <a:ext cx="1814667" cy="585232"/>
      </dsp:txXfrm>
    </dsp:sp>
    <dsp:sp modelId="{B5AF6B27-FDC3-4D77-B41A-31281049FA98}">
      <dsp:nvSpPr>
        <dsp:cNvPr id="0" name=""/>
        <dsp:cNvSpPr/>
      </dsp:nvSpPr>
      <dsp:spPr>
        <a:xfrm rot="21360000">
          <a:off x="1324826" y="1893087"/>
          <a:ext cx="1877987" cy="648552"/>
        </a:xfrm>
        <a:prstGeom prst="roundRect">
          <a:avLst/>
        </a:prstGeom>
        <a:gradFill rotWithShape="0">
          <a:gsLst>
            <a:gs pos="0">
              <a:schemeClr val="accent3">
                <a:hueOff val="355172"/>
                <a:satOff val="-23902"/>
                <a:lumOff val="1228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355172"/>
                <a:satOff val="-23902"/>
                <a:lumOff val="1228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355172"/>
                <a:satOff val="-23902"/>
                <a:lumOff val="1228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kern="1200" dirty="0" smtClean="0"/>
            <a:t>KIS  3 (WPL)</a:t>
          </a:r>
          <a:endParaRPr lang="pl-PL" sz="1200" kern="1200" dirty="0"/>
        </a:p>
      </dsp:txBody>
      <dsp:txXfrm>
        <a:off x="1356486" y="1924747"/>
        <a:ext cx="1814667" cy="585232"/>
      </dsp:txXfrm>
    </dsp:sp>
    <dsp:sp modelId="{E2F7A8BA-F233-4100-86E7-A86B1EBCDD06}">
      <dsp:nvSpPr>
        <dsp:cNvPr id="0" name=""/>
        <dsp:cNvSpPr/>
      </dsp:nvSpPr>
      <dsp:spPr>
        <a:xfrm rot="21360000">
          <a:off x="1248641" y="1207449"/>
          <a:ext cx="1877987" cy="648552"/>
        </a:xfrm>
        <a:prstGeom prst="roundRect">
          <a:avLst/>
        </a:prstGeom>
        <a:gradFill rotWithShape="0">
          <a:gsLst>
            <a:gs pos="0">
              <a:schemeClr val="accent3">
                <a:hueOff val="532759"/>
                <a:satOff val="-35853"/>
                <a:lumOff val="1843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532759"/>
                <a:satOff val="-35853"/>
                <a:lumOff val="1843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532759"/>
                <a:satOff val="-35853"/>
                <a:lumOff val="1843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kern="1200" dirty="0" smtClean="0"/>
            <a:t>KIS 18 (FOTONIKA)</a:t>
          </a:r>
          <a:endParaRPr lang="pl-PL" sz="1200" kern="1200" dirty="0"/>
        </a:p>
      </dsp:txBody>
      <dsp:txXfrm>
        <a:off x="1280301" y="1239109"/>
        <a:ext cx="1814667" cy="585232"/>
      </dsp:txXfrm>
    </dsp:sp>
    <dsp:sp modelId="{F4CE5E76-DD84-40A4-A688-EA1782B3EC41}">
      <dsp:nvSpPr>
        <dsp:cNvPr id="0" name=""/>
        <dsp:cNvSpPr/>
      </dsp:nvSpPr>
      <dsp:spPr>
        <a:xfrm rot="21360000">
          <a:off x="4155572" y="3344819"/>
          <a:ext cx="1877987" cy="648552"/>
        </a:xfrm>
        <a:prstGeom prst="roundRect">
          <a:avLst/>
        </a:prstGeom>
        <a:gradFill rotWithShape="0">
          <a:gsLst>
            <a:gs pos="0">
              <a:schemeClr val="accent3">
                <a:hueOff val="710345"/>
                <a:satOff val="-47805"/>
                <a:lumOff val="2457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710345"/>
                <a:satOff val="-47805"/>
                <a:lumOff val="2457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710345"/>
                <a:satOff val="-47805"/>
                <a:lumOff val="2457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kern="1200" dirty="0" smtClean="0"/>
            <a:t>KIS  7 (ENER)</a:t>
          </a:r>
          <a:endParaRPr lang="pl-PL" sz="1200" kern="1200" dirty="0"/>
        </a:p>
      </dsp:txBody>
      <dsp:txXfrm>
        <a:off x="4187232" y="3376479"/>
        <a:ext cx="1814667" cy="585232"/>
      </dsp:txXfrm>
    </dsp:sp>
    <dsp:sp modelId="{A4DABE77-EF1C-47D7-BEFD-F839E9F728E0}">
      <dsp:nvSpPr>
        <dsp:cNvPr id="0" name=""/>
        <dsp:cNvSpPr/>
      </dsp:nvSpPr>
      <dsp:spPr>
        <a:xfrm rot="21360000">
          <a:off x="4103006" y="2650950"/>
          <a:ext cx="1877987" cy="648552"/>
        </a:xfrm>
        <a:prstGeom prst="roundRect">
          <a:avLst/>
        </a:prstGeom>
        <a:gradFill rotWithShape="0">
          <a:gsLst>
            <a:gs pos="0">
              <a:schemeClr val="accent3">
                <a:hueOff val="887931"/>
                <a:satOff val="-59756"/>
                <a:lumOff val="3072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887931"/>
                <a:satOff val="-59756"/>
                <a:lumOff val="3072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887931"/>
                <a:satOff val="-59756"/>
                <a:lumOff val="3072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kern="1200" dirty="0" smtClean="0"/>
            <a:t>KIS 15 (GEO)  </a:t>
          </a:r>
        </a:p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kern="1200" dirty="0" smtClean="0"/>
            <a:t>KIS 16 (ELE)</a:t>
          </a:r>
          <a:endParaRPr lang="pl-PL" sz="1200" kern="1200" dirty="0"/>
        </a:p>
      </dsp:txBody>
      <dsp:txXfrm>
        <a:off x="4134666" y="2682610"/>
        <a:ext cx="1814667" cy="585232"/>
      </dsp:txXfrm>
    </dsp:sp>
    <dsp:sp modelId="{F23232DB-F0E7-4C79-8D01-F6484521FC26}">
      <dsp:nvSpPr>
        <dsp:cNvPr id="0" name=""/>
        <dsp:cNvSpPr/>
      </dsp:nvSpPr>
      <dsp:spPr>
        <a:xfrm rot="21360000">
          <a:off x="4050440" y="1957081"/>
          <a:ext cx="1877987" cy="648552"/>
        </a:xfrm>
        <a:prstGeom prst="roundRect">
          <a:avLst/>
        </a:prstGeom>
        <a:gradFill rotWithShape="0">
          <a:gsLst>
            <a:gs pos="0">
              <a:schemeClr val="accent3">
                <a:hueOff val="1065517"/>
                <a:satOff val="-71707"/>
                <a:lumOff val="3686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1065517"/>
                <a:satOff val="-71707"/>
                <a:lumOff val="3686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1065517"/>
                <a:satOff val="-71707"/>
                <a:lumOff val="3686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kern="1200" dirty="0" smtClean="0"/>
            <a:t>KIS 2 (</a:t>
          </a:r>
          <a:r>
            <a:rPr lang="pl-PL" sz="1200" kern="1200" dirty="0" err="1" smtClean="0"/>
            <a:t>DiT</a:t>
          </a:r>
          <a:r>
            <a:rPr lang="pl-PL" sz="1200" kern="1200" dirty="0" smtClean="0"/>
            <a:t>) </a:t>
          </a:r>
          <a:br>
            <a:rPr lang="pl-PL" sz="1200" kern="1200" dirty="0" smtClean="0"/>
          </a:br>
          <a:endParaRPr lang="pl-PL" sz="1200" kern="1200" dirty="0"/>
        </a:p>
      </dsp:txBody>
      <dsp:txXfrm>
        <a:off x="4082100" y="1988741"/>
        <a:ext cx="1814667" cy="58523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4FD983-ED45-40A0-9344-176708A09E01}">
      <dsp:nvSpPr>
        <dsp:cNvPr id="0" name=""/>
        <dsp:cNvSpPr/>
      </dsp:nvSpPr>
      <dsp:spPr>
        <a:xfrm>
          <a:off x="3499588" y="2652452"/>
          <a:ext cx="3089143" cy="3089143"/>
        </a:xfrm>
        <a:prstGeom prst="gear9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kern="1200" dirty="0" smtClean="0"/>
            <a:t>Grupa liderów pozostaje bez zmian</a:t>
          </a:r>
          <a:endParaRPr lang="pl-PL" sz="1600" kern="1200" dirty="0"/>
        </a:p>
      </dsp:txBody>
      <dsp:txXfrm>
        <a:off x="4120643" y="3376069"/>
        <a:ext cx="1847033" cy="1587883"/>
      </dsp:txXfrm>
    </dsp:sp>
    <dsp:sp modelId="{7D6C2B03-28EB-49BD-A8E8-80AFB0659AFD}">
      <dsp:nvSpPr>
        <dsp:cNvPr id="0" name=""/>
        <dsp:cNvSpPr/>
      </dsp:nvSpPr>
      <dsp:spPr>
        <a:xfrm>
          <a:off x="1114691" y="1872202"/>
          <a:ext cx="3133784" cy="2490837"/>
        </a:xfrm>
        <a:prstGeom prst="gear6">
          <a:avLst/>
        </a:prstGeom>
        <a:gradFill rotWithShape="0">
          <a:gsLst>
            <a:gs pos="0">
              <a:schemeClr val="accent5">
                <a:hueOff val="1284707"/>
                <a:satOff val="-1181"/>
                <a:lumOff val="627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1284707"/>
                <a:satOff val="-1181"/>
                <a:lumOff val="627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1284707"/>
                <a:satOff val="-1181"/>
                <a:lumOff val="627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kern="1200" dirty="0" smtClean="0"/>
            <a:t>Wskaźnik</a:t>
          </a:r>
          <a:r>
            <a:rPr lang="pl-PL" sz="1400" kern="1200" baseline="0" dirty="0" smtClean="0"/>
            <a:t> sukcesu najwyższy w KIS poza grupą liderów (WYSOKA JAKOŚĆ WNIOSKÓW):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kern="1200" baseline="0" dirty="0" smtClean="0"/>
            <a:t>KIS 18, KIS 3,  KIS 6, KIS 13 </a:t>
          </a:r>
          <a:endParaRPr lang="pl-PL" sz="1400" kern="1200" dirty="0"/>
        </a:p>
      </dsp:txBody>
      <dsp:txXfrm>
        <a:off x="1835226" y="2503068"/>
        <a:ext cx="1692714" cy="1229105"/>
      </dsp:txXfrm>
    </dsp:sp>
    <dsp:sp modelId="{AA2440E2-9F82-4D9A-83AA-A71E84BB2E7D}">
      <dsp:nvSpPr>
        <dsp:cNvPr id="0" name=""/>
        <dsp:cNvSpPr/>
      </dsp:nvSpPr>
      <dsp:spPr>
        <a:xfrm rot="20700000">
          <a:off x="2670453" y="191321"/>
          <a:ext cx="2781594" cy="2563280"/>
        </a:xfrm>
        <a:prstGeom prst="gear6">
          <a:avLst/>
        </a:prstGeom>
        <a:gradFill rotWithShape="0">
          <a:gsLst>
            <a:gs pos="0">
              <a:schemeClr val="accent5">
                <a:hueOff val="2569413"/>
                <a:satOff val="-2362"/>
                <a:lumOff val="1254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2569413"/>
                <a:satOff val="-2362"/>
                <a:lumOff val="1254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2569413"/>
                <a:satOff val="-2362"/>
                <a:lumOff val="1254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kern="1200" dirty="0" smtClean="0">
              <a:solidFill>
                <a:schemeClr val="bg1">
                  <a:lumMod val="50000"/>
                </a:schemeClr>
              </a:solidFill>
            </a:rPr>
            <a:t>Na liście maruderów wciąż KIS 16 (Elek. druk), KIS 20 (ITM) oraz KIS 18 (FOT)  - </a:t>
          </a:r>
          <a:r>
            <a:rPr lang="pl-PL" sz="1400" b="1" kern="1200" dirty="0" smtClean="0">
              <a:solidFill>
                <a:schemeClr val="bg1">
                  <a:lumMod val="50000"/>
                </a:schemeClr>
              </a:solidFill>
            </a:rPr>
            <a:t>KIS 12 (WOD) spada z listy</a:t>
          </a:r>
          <a:endParaRPr lang="pl-PL" sz="1400" b="1" kern="1200" dirty="0">
            <a:solidFill>
              <a:schemeClr val="bg1">
                <a:lumMod val="50000"/>
              </a:schemeClr>
            </a:solidFill>
          </a:endParaRPr>
        </a:p>
      </dsp:txBody>
      <dsp:txXfrm rot="-20700000">
        <a:off x="3293487" y="740575"/>
        <a:ext cx="1535526" cy="1464772"/>
      </dsp:txXfrm>
    </dsp:sp>
    <dsp:sp modelId="{4E539DFD-8393-4F13-A8AC-094D7FEA67B7}">
      <dsp:nvSpPr>
        <dsp:cNvPr id="0" name=""/>
        <dsp:cNvSpPr/>
      </dsp:nvSpPr>
      <dsp:spPr>
        <a:xfrm>
          <a:off x="3312378" y="1944219"/>
          <a:ext cx="3954103" cy="3954103"/>
        </a:xfrm>
        <a:prstGeom prst="circularArrow">
          <a:avLst>
            <a:gd name="adj1" fmla="val 4687"/>
            <a:gd name="adj2" fmla="val 299029"/>
            <a:gd name="adj3" fmla="val 2542172"/>
            <a:gd name="adj4" fmla="val 15806349"/>
            <a:gd name="adj5" fmla="val 5469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D7AB51F-C255-422B-9815-D86BE7AB324E}">
      <dsp:nvSpPr>
        <dsp:cNvPr id="0" name=""/>
        <dsp:cNvSpPr/>
      </dsp:nvSpPr>
      <dsp:spPr>
        <a:xfrm>
          <a:off x="864090" y="1008120"/>
          <a:ext cx="2872903" cy="287290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gradFill rotWithShape="0">
          <a:gsLst>
            <a:gs pos="0">
              <a:schemeClr val="accent5">
                <a:hueOff val="1284707"/>
                <a:satOff val="-1181"/>
                <a:lumOff val="627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1284707"/>
                <a:satOff val="-1181"/>
                <a:lumOff val="627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1284707"/>
                <a:satOff val="-1181"/>
                <a:lumOff val="627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BA58ECD-71EF-428E-8F91-99ADECAB1D7E}">
      <dsp:nvSpPr>
        <dsp:cNvPr id="0" name=""/>
        <dsp:cNvSpPr/>
      </dsp:nvSpPr>
      <dsp:spPr>
        <a:xfrm>
          <a:off x="2232233" y="-288030"/>
          <a:ext cx="3097568" cy="3097568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gradFill rotWithShape="0">
          <a:gsLst>
            <a:gs pos="0">
              <a:schemeClr val="accent5">
                <a:hueOff val="2569413"/>
                <a:satOff val="-2362"/>
                <a:lumOff val="1254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2569413"/>
                <a:satOff val="-2362"/>
                <a:lumOff val="1254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2569413"/>
                <a:satOff val="-2362"/>
                <a:lumOff val="1254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51275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606054F-79D9-4EBE-8641-8C1A8B5F4150}" type="datetimeFigureOut">
              <a:rPr lang="pl-PL"/>
              <a:pPr>
                <a:defRPr/>
              </a:pPr>
              <a:t>2017-06-20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5637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40363" cy="39100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31338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51275" y="9431338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202FAB2-E4DE-4D63-AC42-7FBC32B0672A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6652574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ymbol zastępczy obrazu slajd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Symbol zastępczy notatek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l-PL" altLang="pl-PL" smtClean="0"/>
          </a:p>
        </p:txBody>
      </p:sp>
      <p:sp>
        <p:nvSpPr>
          <p:cNvPr id="143364" name="Symbol zastępczy numeru slajdu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fld id="{CB6FAB94-F9C2-43DE-80A0-A940B8704E50}" type="slidenum">
              <a:rPr lang="pl-PL" altLang="pl-PL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pl-PL" altLang="pl-PL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ymbol zastępczy obrazu slajd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Symbol zastępczy notatek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D6B3155-E11D-4242-B17E-A2296E2FDB86}" type="slidenum">
              <a:rPr lang="pl-PL" smtClean="0"/>
              <a:pPr>
                <a:defRPr/>
              </a:pPr>
              <a:t>9</a:t>
            </a:fld>
            <a:endParaRPr lang="pl-PL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06425" y="460375"/>
            <a:ext cx="5586413" cy="4191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  <a:buFontTx/>
              <a:buChar char="•"/>
            </a:pPr>
            <a:endParaRPr lang="pl-PL" altLang="pl-PL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8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/>
          <p:cNvPicPr>
            <a:picLocks noChangeAspect="1"/>
          </p:cNvPicPr>
          <p:nvPr userDrawn="1"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r="39140" b="31804"/>
          <a:stretch>
            <a:fillRect/>
          </a:stretch>
        </p:blipFill>
        <p:spPr bwMode="auto">
          <a:xfrm>
            <a:off x="5713413" y="547688"/>
            <a:ext cx="3419475" cy="430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0"/>
          <p:cNvSpPr/>
          <p:nvPr userDrawn="1"/>
        </p:nvSpPr>
        <p:spPr>
          <a:xfrm>
            <a:off x="5643563" y="547688"/>
            <a:ext cx="3495675" cy="4295775"/>
          </a:xfrm>
          <a:prstGeom prst="rect">
            <a:avLst/>
          </a:prstGeom>
          <a:solidFill>
            <a:schemeClr val="bg1">
              <a:alpha val="65000"/>
            </a:schemeClr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FFFFFF"/>
              </a:solidFill>
            </a:endParaRPr>
          </a:p>
        </p:txBody>
      </p:sp>
      <p:sp>
        <p:nvSpPr>
          <p:cNvPr id="6" name="Rectangle 14"/>
          <p:cNvSpPr/>
          <p:nvPr userDrawn="1"/>
        </p:nvSpPr>
        <p:spPr>
          <a:xfrm flipV="1">
            <a:off x="0" y="-8994"/>
            <a:ext cx="9144000" cy="243819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101600" dist="88900" dir="5400000">
              <a:prstClr val="black">
                <a:alpha val="14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000000"/>
              </a:solidFill>
            </a:endParaRPr>
          </a:p>
        </p:txBody>
      </p:sp>
      <p:cxnSp>
        <p:nvCxnSpPr>
          <p:cNvPr id="7" name="Straight Connector 16"/>
          <p:cNvCxnSpPr/>
          <p:nvPr userDrawn="1"/>
        </p:nvCxnSpPr>
        <p:spPr>
          <a:xfrm>
            <a:off x="1868488" y="2741613"/>
            <a:ext cx="259715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https://www.mr.gov.pl/media/13021/logo_pl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800" y="1200150"/>
            <a:ext cx="3556000" cy="113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21"/>
          <p:cNvSpPr/>
          <p:nvPr userDrawn="1"/>
        </p:nvSpPr>
        <p:spPr>
          <a:xfrm>
            <a:off x="0" y="4843849"/>
            <a:ext cx="9144000" cy="2014152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254000" dist="127000" dir="5400000">
              <a:prstClr val="black">
                <a:alpha val="16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19835" y="2936275"/>
            <a:ext cx="6855853" cy="1746043"/>
          </a:xfrm>
        </p:spPr>
        <p:txBody>
          <a:bodyPr anchor="t">
            <a:normAutofit/>
          </a:bodyPr>
          <a:lstStyle>
            <a:lvl1pPr algn="l">
              <a:defRPr sz="3600"/>
            </a:lvl1pPr>
          </a:lstStyle>
          <a:p>
            <a:r>
              <a:rPr lang="pl-PL" smtClean="0"/>
              <a:t>Kliknij, aby edytować sty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19835" y="4959934"/>
            <a:ext cx="6855853" cy="127735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smtClean="0"/>
              <a:t>Kliknij, aby edytować styl wzorca podtytułu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1801813" y="6454775"/>
            <a:ext cx="20574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C2A0B27-A13A-4AD2-ADA6-789B2E124189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18458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1_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9144000" cy="6858000"/>
          </a:xfrm>
          <a:solidFill>
            <a:schemeClr val="accent3"/>
          </a:solidFill>
        </p:spPr>
        <p:txBody>
          <a:bodyPr rtlCol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l-PL" noProof="0" smtClean="0"/>
              <a:t>Kliknij ikonę, aby dodać obraz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5548131"/>
            <a:ext cx="9144000" cy="689157"/>
          </a:xfrm>
          <a:solidFill>
            <a:schemeClr val="tx1">
              <a:alpha val="40000"/>
            </a:schemeClr>
          </a:solidFill>
        </p:spPr>
        <p:txBody>
          <a:bodyPr lIns="504000" tIns="72000" bIns="72000"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387989"/>
            <a:ext cx="9144000" cy="1160142"/>
          </a:xfrm>
          <a:solidFill>
            <a:schemeClr val="tx1">
              <a:alpha val="40000"/>
            </a:schemeClr>
          </a:solidFill>
        </p:spPr>
        <p:txBody>
          <a:bodyPr lIns="504000" bIns="14400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Kliknij, aby edytować styl</a:t>
            </a:r>
            <a:endParaRPr lang="en-US" dirty="0"/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651EA7-B988-43AE-AB67-1D68A0E2AA9B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813933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końc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/>
          <p:cNvPicPr>
            <a:picLocks noChangeAspect="1"/>
          </p:cNvPicPr>
          <p:nvPr userDrawn="1"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r="39140" b="31804"/>
          <a:stretch>
            <a:fillRect/>
          </a:stretch>
        </p:blipFill>
        <p:spPr bwMode="auto">
          <a:xfrm>
            <a:off x="5713413" y="547688"/>
            <a:ext cx="3419475" cy="430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0"/>
          <p:cNvSpPr/>
          <p:nvPr userDrawn="1"/>
        </p:nvSpPr>
        <p:spPr>
          <a:xfrm>
            <a:off x="5643563" y="547688"/>
            <a:ext cx="3495675" cy="4295775"/>
          </a:xfrm>
          <a:prstGeom prst="rect">
            <a:avLst/>
          </a:prstGeom>
          <a:solidFill>
            <a:schemeClr val="bg1">
              <a:alpha val="65000"/>
            </a:schemeClr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FFFFFF"/>
              </a:solidFill>
            </a:endParaRPr>
          </a:p>
        </p:txBody>
      </p:sp>
      <p:sp>
        <p:nvSpPr>
          <p:cNvPr id="6" name="Rectangle 14"/>
          <p:cNvSpPr/>
          <p:nvPr userDrawn="1"/>
        </p:nvSpPr>
        <p:spPr>
          <a:xfrm flipV="1">
            <a:off x="0" y="-8994"/>
            <a:ext cx="9144000" cy="243819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101600" dist="88900" dir="5400000">
              <a:prstClr val="black">
                <a:alpha val="14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000000"/>
              </a:solidFill>
            </a:endParaRPr>
          </a:p>
        </p:txBody>
      </p:sp>
      <p:cxnSp>
        <p:nvCxnSpPr>
          <p:cNvPr id="7" name="Straight Connector 16"/>
          <p:cNvCxnSpPr/>
          <p:nvPr userDrawn="1"/>
        </p:nvCxnSpPr>
        <p:spPr>
          <a:xfrm>
            <a:off x="1868488" y="2741613"/>
            <a:ext cx="259715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https://www.mr.gov.pl/media/13021/logo_pl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800" y="1200150"/>
            <a:ext cx="3556000" cy="113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21"/>
          <p:cNvSpPr/>
          <p:nvPr userDrawn="1"/>
        </p:nvSpPr>
        <p:spPr>
          <a:xfrm>
            <a:off x="-4762" y="4271733"/>
            <a:ext cx="9148762" cy="2586268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254000" dist="127000" dir="5400000">
              <a:prstClr val="black">
                <a:alpha val="16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3688" y="2936275"/>
            <a:ext cx="6694512" cy="1140797"/>
          </a:xfrm>
        </p:spPr>
        <p:txBody>
          <a:bodyPr anchor="t">
            <a:normAutofit/>
          </a:bodyPr>
          <a:lstStyle>
            <a:lvl1pPr algn="l">
              <a:defRPr sz="3600"/>
            </a:lvl1pPr>
          </a:lstStyle>
          <a:p>
            <a:r>
              <a:rPr lang="pl-PL" smtClean="0"/>
              <a:t>Kliknij, aby edytować sty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63688" y="4437112"/>
            <a:ext cx="6694512" cy="180017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smtClean="0"/>
              <a:t>Kliknij, aby edytować styl wzorca podtytułu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1782763" y="6454775"/>
            <a:ext cx="20574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18C66ED-4DEF-47F5-B449-57C913244B1F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778717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4"/>
          <p:cNvSpPr/>
          <p:nvPr userDrawn="1"/>
        </p:nvSpPr>
        <p:spPr>
          <a:xfrm flipV="1">
            <a:off x="0" y="-8994"/>
            <a:ext cx="9144000" cy="243819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101600" dist="88900" dir="5400000">
              <a:prstClr val="black">
                <a:alpha val="14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21" tIns="60910" rIns="121821" bIns="6091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pl-PL" altLang="pl-PL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4" name="Picture 19"/>
          <p:cNvPicPr>
            <a:picLocks noChangeAspect="1"/>
          </p:cNvPicPr>
          <p:nvPr userDrawn="1"/>
        </p:nvPicPr>
        <p:blipFill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r="39140" b="31804"/>
          <a:stretch>
            <a:fillRect/>
          </a:stretch>
        </p:blipFill>
        <p:spPr bwMode="auto">
          <a:xfrm>
            <a:off x="5713413" y="547688"/>
            <a:ext cx="3419475" cy="430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0"/>
          <p:cNvSpPr/>
          <p:nvPr userDrawn="1"/>
        </p:nvSpPr>
        <p:spPr>
          <a:xfrm>
            <a:off x="5643563" y="547688"/>
            <a:ext cx="3495675" cy="4295775"/>
          </a:xfrm>
          <a:prstGeom prst="rect">
            <a:avLst/>
          </a:prstGeom>
          <a:solidFill>
            <a:schemeClr val="bg1">
              <a:alpha val="71000"/>
            </a:schemeClr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21" tIns="60910" rIns="121821" bIns="6091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pl-PL" altLang="pl-PL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21"/>
          <p:cNvSpPr/>
          <p:nvPr userDrawn="1"/>
        </p:nvSpPr>
        <p:spPr>
          <a:xfrm>
            <a:off x="0" y="4843849"/>
            <a:ext cx="9144000" cy="2014152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254000" dist="127000" dir="5400000">
              <a:prstClr val="black">
                <a:alpha val="16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21" tIns="60910" rIns="121821" bIns="6091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pl-PL" altLang="pl-PL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7" name="Straight Connector 16"/>
          <p:cNvCxnSpPr/>
          <p:nvPr userDrawn="1"/>
        </p:nvCxnSpPr>
        <p:spPr>
          <a:xfrm flipV="1">
            <a:off x="1547813" y="1604963"/>
            <a:ext cx="1944687" cy="1587"/>
          </a:xfrm>
          <a:prstGeom prst="line">
            <a:avLst/>
          </a:prstGeom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3" descr="C:\Documents and Settings\Jaroslaw_Morawski\Pulpit\LOGO i grafiki\Orzelek-MR-pl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5" y="620713"/>
            <a:ext cx="3044825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199713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Jaroslaw_Morawski\Pulpit\flaga_A4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8"/>
          <a:stretch>
            <a:fillRect/>
          </a:stretch>
        </p:blipFill>
        <p:spPr bwMode="auto">
          <a:xfrm>
            <a:off x="0" y="1176338"/>
            <a:ext cx="9147175" cy="290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/>
          <p:nvPr userDrawn="1"/>
        </p:nvSpPr>
        <p:spPr>
          <a:xfrm flipV="1">
            <a:off x="0" y="-8994"/>
            <a:ext cx="9144000" cy="243819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101600" dist="88900" dir="5400000">
              <a:prstClr val="black">
                <a:alpha val="14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000000"/>
              </a:solidFill>
            </a:endParaRPr>
          </a:p>
        </p:txBody>
      </p:sp>
      <p:pic>
        <p:nvPicPr>
          <p:cNvPr id="6" name="Picture 2" descr="https://www.mr.gov.pl/media/13021/logo_pl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800" y="476250"/>
            <a:ext cx="3556000" cy="113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1"/>
          <p:cNvSpPr/>
          <p:nvPr userDrawn="1"/>
        </p:nvSpPr>
        <p:spPr>
          <a:xfrm>
            <a:off x="0" y="4843849"/>
            <a:ext cx="9144000" cy="2014152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254000" dist="127000" dir="5400000">
              <a:prstClr val="black">
                <a:alpha val="16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19835" y="2936275"/>
            <a:ext cx="6855853" cy="1746043"/>
          </a:xfrm>
        </p:spPr>
        <p:txBody>
          <a:bodyPr anchor="t">
            <a:normAutofit/>
          </a:bodyPr>
          <a:lstStyle>
            <a:lvl1pPr algn="l">
              <a:defRPr sz="3600"/>
            </a:lvl1pPr>
          </a:lstStyle>
          <a:p>
            <a:r>
              <a:rPr lang="pl-PL" smtClean="0"/>
              <a:t>Kliknij, aby edytować sty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19835" y="4959934"/>
            <a:ext cx="6855853" cy="127735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smtClean="0"/>
              <a:t>Kliknij, aby edytować styl wzorca podtytułu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1801813" y="6454775"/>
            <a:ext cx="2057400" cy="365125"/>
          </a:xfr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26FB6548-A0AE-49CC-9C8E-3C58E8AE2E5A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711746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7D758D-D7C3-4A3A-84D0-1761B7DF019F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5BE891-8079-4D46-B856-9B250921FD63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989231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/>
          <p:cNvPicPr>
            <a:picLocks noChangeAspect="1"/>
          </p:cNvPicPr>
          <p:nvPr userDrawn="1"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r="39140" b="31804"/>
          <a:stretch>
            <a:fillRect/>
          </a:stretch>
        </p:blipFill>
        <p:spPr bwMode="auto">
          <a:xfrm>
            <a:off x="5713413" y="547688"/>
            <a:ext cx="3419475" cy="430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0"/>
          <p:cNvSpPr/>
          <p:nvPr userDrawn="1"/>
        </p:nvSpPr>
        <p:spPr>
          <a:xfrm>
            <a:off x="5643563" y="547688"/>
            <a:ext cx="3495675" cy="4295775"/>
          </a:xfrm>
          <a:prstGeom prst="rect">
            <a:avLst/>
          </a:prstGeom>
          <a:solidFill>
            <a:schemeClr val="bg1">
              <a:alpha val="65000"/>
            </a:schemeClr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FFFFFF"/>
              </a:solidFill>
            </a:endParaRPr>
          </a:p>
        </p:txBody>
      </p:sp>
      <p:sp>
        <p:nvSpPr>
          <p:cNvPr id="6" name="Rectangle 14"/>
          <p:cNvSpPr/>
          <p:nvPr userDrawn="1"/>
        </p:nvSpPr>
        <p:spPr>
          <a:xfrm flipV="1">
            <a:off x="0" y="-8994"/>
            <a:ext cx="9144000" cy="243819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101600" dist="88900" dir="5400000">
              <a:prstClr val="black">
                <a:alpha val="14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000000"/>
              </a:solidFill>
            </a:endParaRPr>
          </a:p>
        </p:txBody>
      </p:sp>
      <p:sp>
        <p:nvSpPr>
          <p:cNvPr id="7" name="Rectangle 21"/>
          <p:cNvSpPr/>
          <p:nvPr userDrawn="1"/>
        </p:nvSpPr>
        <p:spPr>
          <a:xfrm>
            <a:off x="0" y="4843849"/>
            <a:ext cx="9144000" cy="2014152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254000" dist="127000" dir="5400000">
              <a:prstClr val="black">
                <a:alpha val="16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000000"/>
              </a:solidFill>
            </a:endParaRPr>
          </a:p>
        </p:txBody>
      </p:sp>
      <p:pic>
        <p:nvPicPr>
          <p:cNvPr id="8" name="Picture 2" descr="https://www.mr.gov.pl/media/13021/logo_pl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800" y="1200150"/>
            <a:ext cx="3556000" cy="11366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9"/>
          <p:cNvSpPr/>
          <p:nvPr userDrawn="1"/>
        </p:nvSpPr>
        <p:spPr>
          <a:xfrm>
            <a:off x="536575" y="1096963"/>
            <a:ext cx="4176713" cy="1323975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 sz="900" dirty="0">
              <a:solidFill>
                <a:srgbClr val="000000"/>
              </a:solidFill>
            </a:endParaRPr>
          </a:p>
        </p:txBody>
      </p:sp>
      <p:cxnSp>
        <p:nvCxnSpPr>
          <p:cNvPr id="10" name="Straight Connector 16"/>
          <p:cNvCxnSpPr/>
          <p:nvPr userDrawn="1"/>
        </p:nvCxnSpPr>
        <p:spPr>
          <a:xfrm>
            <a:off x="1868488" y="2741613"/>
            <a:ext cx="259715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3688" y="4992647"/>
            <a:ext cx="6912000" cy="1244641"/>
          </a:xfrm>
        </p:spPr>
        <p:txBody>
          <a:bodyPr anchor="t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63688" y="3573016"/>
            <a:ext cx="6912000" cy="1109522"/>
          </a:xfrm>
        </p:spPr>
        <p:txBody>
          <a:bodyPr anchor="b"/>
          <a:lstStyle>
            <a:lvl1pPr marL="0" indent="0" algn="l">
              <a:buNone/>
              <a:defRPr sz="2400" baseline="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33760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główek sekcj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ostokąt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prstClr val="white"/>
              </a:solidFill>
            </a:endParaRPr>
          </a:p>
        </p:txBody>
      </p:sp>
      <p:sp>
        <p:nvSpPr>
          <p:cNvPr id="6" name="Prostokąt 5"/>
          <p:cNvSpPr>
            <a:spLocks noChangeArrowheads="1"/>
          </p:cNvSpPr>
          <p:nvPr userDrawn="1"/>
        </p:nvSpPr>
        <p:spPr bwMode="auto">
          <a:xfrm>
            <a:off x="0" y="4384675"/>
            <a:ext cx="9144000" cy="1852613"/>
          </a:xfrm>
          <a:prstGeom prst="rect">
            <a:avLst/>
          </a:prstGeom>
          <a:solidFill>
            <a:schemeClr val="tx1">
              <a:alpha val="39999"/>
            </a:schemeClr>
          </a:solidFill>
          <a:ln>
            <a:noFill/>
          </a:ln>
          <a:extLst/>
        </p:spPr>
        <p:txBody>
          <a:bodyPr lIns="504000" tIns="108000" bIns="108000" anchor="b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1000"/>
              </a:spcBef>
              <a:buClr>
                <a:srgbClr val="0D5681"/>
              </a:buClr>
              <a:buFont typeface="Arial" pitchFamily="34" charset="0"/>
              <a:buNone/>
              <a:defRPr/>
            </a:pPr>
            <a:endParaRPr lang="pl-PL" altLang="pl-PL" smtClean="0">
              <a:solidFill>
                <a:srgbClr val="FFFFFF"/>
              </a:solidFill>
            </a:endParaRPr>
          </a:p>
        </p:txBody>
      </p:sp>
      <p:pic>
        <p:nvPicPr>
          <p:cNvPr id="7" name="Picture 19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/>
          </a:blip>
          <a:srcRect l="2249" r="39140" b="31804"/>
          <a:stretch>
            <a:fillRect/>
          </a:stretch>
        </p:blipFill>
        <p:spPr bwMode="auto">
          <a:xfrm>
            <a:off x="5940055" y="351706"/>
            <a:ext cx="3203945" cy="4032448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4393679"/>
            <a:ext cx="9144000" cy="689157"/>
          </a:xfrm>
          <a:noFill/>
        </p:spPr>
        <p:txBody>
          <a:bodyPr lIns="504000" tIns="108000" bIns="108000" anchor="b"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085184"/>
            <a:ext cx="9144000" cy="1160142"/>
          </a:xfrm>
          <a:noFill/>
        </p:spPr>
        <p:txBody>
          <a:bodyPr lIns="504000" tIns="108000" bIns="108000" anchor="t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Kliknij, aby edytować sty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1641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2" y="1196752"/>
            <a:ext cx="4041773" cy="5040536"/>
          </a:xfrm>
        </p:spPr>
        <p:txBody>
          <a:bodyPr/>
          <a:lstStyle>
            <a:lvl1pPr>
              <a:defRPr lang="pl-PL" dirty="0" smtClean="0"/>
            </a:lvl1pPr>
            <a:lvl2pPr>
              <a:defRPr lang="pl-PL" dirty="0" smtClean="0"/>
            </a:lvl2pPr>
            <a:lvl3pPr>
              <a:defRPr lang="pl-PL" dirty="0" smtClean="0"/>
            </a:lvl3pPr>
            <a:lvl4pPr>
              <a:defRPr lang="pl-PL" dirty="0" smtClean="0"/>
            </a:lvl4pPr>
            <a:lvl5pPr>
              <a:defRPr lang="en-US" dirty="0"/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0262" y="1196752"/>
            <a:ext cx="4041774" cy="5040536"/>
          </a:xfrm>
        </p:spPr>
        <p:txBody>
          <a:bodyPr/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938033-6FC1-4E12-B8AB-3E92654BBAD8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12FFDF-33D3-4CF2-9DDE-707368E28DE5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63041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3" y="1196752"/>
            <a:ext cx="4029869" cy="823912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313" y="2132856"/>
            <a:ext cx="4029869" cy="4056807"/>
          </a:xfrm>
        </p:spPr>
        <p:txBody>
          <a:bodyPr/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56045" y="1196752"/>
            <a:ext cx="4025992" cy="823912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56045" y="2132856"/>
            <a:ext cx="4025992" cy="4056807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10" name="Tytuł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409E80-A1CC-49A2-8B80-A28075E758BA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D464CF-DBDF-4518-AD70-7FD3B8D476FA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337493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1F9BA-FD79-4729-83A8-BD49E464ECCC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499340-9608-4EE1-A537-EFA17843E59E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014127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097892-E02D-4B42-A670-D5FE0CF90CD8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C8EBCF-34FA-4EF5-9A72-D124326D4BE0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635433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1CB59B-A37B-486C-90B8-5AE520E84310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CE2A57-EDCD-452B-9B6A-BC494DECC9D6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960875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zdję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2"/>
          <p:cNvCxnSpPr/>
          <p:nvPr userDrawn="1"/>
        </p:nvCxnSpPr>
        <p:spPr>
          <a:xfrm>
            <a:off x="457200" y="1005681"/>
            <a:ext cx="4114800" cy="0"/>
          </a:xfrm>
          <a:prstGeom prst="line">
            <a:avLst/>
          </a:prstGeom>
          <a:ln w="22225">
            <a:gradFill flip="none" rotWithShape="1">
              <a:gsLst>
                <a:gs pos="55000">
                  <a:srgbClr val="0166B6"/>
                </a:gs>
                <a:gs pos="81000">
                  <a:srgbClr val="C1E3FF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21"/>
          <p:cNvSpPr/>
          <p:nvPr userDrawn="1"/>
        </p:nvSpPr>
        <p:spPr>
          <a:xfrm>
            <a:off x="4572000" y="0"/>
            <a:ext cx="4572000" cy="6858001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254000" dist="127000" dir="5400000">
              <a:prstClr val="black">
                <a:alpha val="16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3339" y="1124744"/>
            <a:ext cx="3944645" cy="5112544"/>
          </a:xfrm>
        </p:spPr>
        <p:txBody>
          <a:bodyPr/>
          <a:lstStyle>
            <a:lvl1pPr>
              <a:defRPr lang="pl-PL" dirty="0" smtClean="0"/>
            </a:lvl1pPr>
            <a:lvl2pPr>
              <a:defRPr lang="pl-PL" dirty="0" smtClean="0"/>
            </a:lvl2pPr>
            <a:lvl3pPr>
              <a:defRPr lang="pl-PL" dirty="0" smtClean="0"/>
            </a:lvl3pPr>
            <a:lvl4pPr>
              <a:defRPr lang="pl-PL" dirty="0" smtClean="0"/>
            </a:lvl4pPr>
            <a:lvl5pPr>
              <a:defRPr lang="en-US" dirty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9" name="Tytuł 8"/>
          <p:cNvSpPr>
            <a:spLocks noGrp="1"/>
          </p:cNvSpPr>
          <p:nvPr>
            <p:ph type="title"/>
          </p:nvPr>
        </p:nvSpPr>
        <p:spPr>
          <a:xfrm>
            <a:off x="468313" y="1"/>
            <a:ext cx="3959671" cy="1030288"/>
          </a:xfrm>
        </p:spPr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13" name="Symbol zastępczy obrazu 12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64063" cy="6858000"/>
          </a:xfrm>
        </p:spPr>
        <p:txBody>
          <a:bodyPr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 ikonę, aby dodać obraz</a:t>
            </a:r>
            <a:endParaRPr lang="pl-PL" noProof="0" dirty="0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2E665C-94F7-4A0F-9FE3-23A324027616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4C8EB6-250C-4180-BC77-5BC388F35490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710611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1_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9144000" cy="6858000"/>
          </a:xfrm>
          <a:solidFill>
            <a:schemeClr val="accent3"/>
          </a:solidFill>
        </p:spPr>
        <p:txBody>
          <a:bodyPr rtlCol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l-PL" noProof="0" smtClean="0"/>
              <a:t>Kliknij ikonę, aby dodać obraz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5548131"/>
            <a:ext cx="9144000" cy="689157"/>
          </a:xfrm>
          <a:solidFill>
            <a:schemeClr val="tx1">
              <a:alpha val="40000"/>
            </a:schemeClr>
          </a:solidFill>
        </p:spPr>
        <p:txBody>
          <a:bodyPr lIns="504000" tIns="72000" bIns="72000"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387989"/>
            <a:ext cx="9144000" cy="1160142"/>
          </a:xfrm>
          <a:solidFill>
            <a:schemeClr val="tx1">
              <a:alpha val="40000"/>
            </a:schemeClr>
          </a:solidFill>
        </p:spPr>
        <p:txBody>
          <a:bodyPr lIns="504000" bIns="14400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Kliknij, aby edytować styl</a:t>
            </a:r>
            <a:endParaRPr lang="en-US" dirty="0"/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5E0607-10DC-4F7D-B5E4-9D18CCFC563A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365756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końc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/>
          <p:cNvPicPr>
            <a:picLocks noChangeAspect="1"/>
          </p:cNvPicPr>
          <p:nvPr userDrawn="1"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r="39140" b="31804"/>
          <a:stretch>
            <a:fillRect/>
          </a:stretch>
        </p:blipFill>
        <p:spPr bwMode="auto">
          <a:xfrm>
            <a:off x="5713413" y="547688"/>
            <a:ext cx="3419475" cy="430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0"/>
          <p:cNvSpPr/>
          <p:nvPr userDrawn="1"/>
        </p:nvSpPr>
        <p:spPr>
          <a:xfrm>
            <a:off x="5643563" y="547688"/>
            <a:ext cx="3495675" cy="4295775"/>
          </a:xfrm>
          <a:prstGeom prst="rect">
            <a:avLst/>
          </a:prstGeom>
          <a:solidFill>
            <a:schemeClr val="bg1">
              <a:alpha val="65000"/>
            </a:schemeClr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FFFFFF"/>
              </a:solidFill>
            </a:endParaRPr>
          </a:p>
        </p:txBody>
      </p:sp>
      <p:sp>
        <p:nvSpPr>
          <p:cNvPr id="6" name="Rectangle 14"/>
          <p:cNvSpPr/>
          <p:nvPr userDrawn="1"/>
        </p:nvSpPr>
        <p:spPr>
          <a:xfrm flipV="1">
            <a:off x="0" y="-8994"/>
            <a:ext cx="9144000" cy="243819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101600" dist="88900" dir="5400000">
              <a:prstClr val="black">
                <a:alpha val="14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000000"/>
              </a:solidFill>
            </a:endParaRPr>
          </a:p>
        </p:txBody>
      </p:sp>
      <p:cxnSp>
        <p:nvCxnSpPr>
          <p:cNvPr id="7" name="Straight Connector 16"/>
          <p:cNvCxnSpPr/>
          <p:nvPr userDrawn="1"/>
        </p:nvCxnSpPr>
        <p:spPr>
          <a:xfrm>
            <a:off x="1868488" y="2741613"/>
            <a:ext cx="259715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https://www.mr.gov.pl/media/13021/logo_pl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800" y="1200150"/>
            <a:ext cx="3556000" cy="113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21"/>
          <p:cNvSpPr/>
          <p:nvPr userDrawn="1"/>
        </p:nvSpPr>
        <p:spPr>
          <a:xfrm>
            <a:off x="-4762" y="4271733"/>
            <a:ext cx="9148762" cy="2586268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254000" dist="127000" dir="5400000">
              <a:prstClr val="black">
                <a:alpha val="16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3688" y="2936275"/>
            <a:ext cx="6694512" cy="1140797"/>
          </a:xfrm>
        </p:spPr>
        <p:txBody>
          <a:bodyPr anchor="t">
            <a:normAutofit/>
          </a:bodyPr>
          <a:lstStyle>
            <a:lvl1pPr algn="l">
              <a:defRPr sz="3600"/>
            </a:lvl1pPr>
          </a:lstStyle>
          <a:p>
            <a:r>
              <a:rPr lang="pl-PL" smtClean="0"/>
              <a:t>Kliknij, aby edytować sty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63688" y="4437112"/>
            <a:ext cx="6694512" cy="180017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smtClean="0"/>
              <a:t>Kliknij, aby edytować styl wzorca podtytułu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1782763" y="6454775"/>
            <a:ext cx="2057400" cy="365125"/>
          </a:xfr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8A16DFEF-88AD-436D-9EE8-B2E2336C6DA8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273671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4"/>
          <p:cNvSpPr/>
          <p:nvPr userDrawn="1"/>
        </p:nvSpPr>
        <p:spPr>
          <a:xfrm flipV="1">
            <a:off x="0" y="-8994"/>
            <a:ext cx="9144000" cy="243819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101600" dist="88900" dir="5400000">
              <a:prstClr val="black">
                <a:alpha val="14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21" tIns="60910" rIns="121821" bIns="6091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pl-PL" altLang="pl-PL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4" name="Picture 19"/>
          <p:cNvPicPr>
            <a:picLocks noChangeAspect="1"/>
          </p:cNvPicPr>
          <p:nvPr userDrawn="1"/>
        </p:nvPicPr>
        <p:blipFill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r="39140" b="31804"/>
          <a:stretch>
            <a:fillRect/>
          </a:stretch>
        </p:blipFill>
        <p:spPr bwMode="auto">
          <a:xfrm>
            <a:off x="5713413" y="547688"/>
            <a:ext cx="3419475" cy="430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0"/>
          <p:cNvSpPr/>
          <p:nvPr userDrawn="1"/>
        </p:nvSpPr>
        <p:spPr>
          <a:xfrm>
            <a:off x="5643563" y="547688"/>
            <a:ext cx="3495675" cy="4295775"/>
          </a:xfrm>
          <a:prstGeom prst="rect">
            <a:avLst/>
          </a:prstGeom>
          <a:solidFill>
            <a:schemeClr val="bg1">
              <a:alpha val="71000"/>
            </a:schemeClr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21" tIns="60910" rIns="121821" bIns="6091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pl-PL" altLang="pl-PL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21"/>
          <p:cNvSpPr/>
          <p:nvPr userDrawn="1"/>
        </p:nvSpPr>
        <p:spPr>
          <a:xfrm>
            <a:off x="0" y="4843849"/>
            <a:ext cx="9144000" cy="2014152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254000" dist="127000" dir="5400000">
              <a:prstClr val="black">
                <a:alpha val="16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21" tIns="60910" rIns="121821" bIns="6091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pl-PL" altLang="pl-PL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7" name="Straight Connector 16"/>
          <p:cNvCxnSpPr/>
          <p:nvPr userDrawn="1"/>
        </p:nvCxnSpPr>
        <p:spPr>
          <a:xfrm flipV="1">
            <a:off x="1547813" y="1604963"/>
            <a:ext cx="1944687" cy="1587"/>
          </a:xfrm>
          <a:prstGeom prst="line">
            <a:avLst/>
          </a:prstGeom>
          <a:ln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3" descr="C:\Documents and Settings\Jaroslaw_Morawski\Pulpit\LOGO i grafiki\Orzelek-MR-pl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5" y="620713"/>
            <a:ext cx="3044825" cy="979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97047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ytuł i zawartość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1" tIns="60930" rIns="121861" bIns="60930" anchor="ctr"/>
          <a:lstStyle/>
          <a:p>
            <a:pPr algn="ctr">
              <a:defRPr/>
            </a:pPr>
            <a:r>
              <a:rPr lang="pl-PL" dirty="0">
                <a:solidFill>
                  <a:srgbClr val="FFFFFF"/>
                </a:solidFill>
              </a:rPr>
              <a:t>mate</a:t>
            </a:r>
          </a:p>
        </p:txBody>
      </p:sp>
      <p:cxnSp>
        <p:nvCxnSpPr>
          <p:cNvPr id="5" name="Straight Connector 12"/>
          <p:cNvCxnSpPr/>
          <p:nvPr userDrawn="1"/>
        </p:nvCxnSpPr>
        <p:spPr>
          <a:xfrm>
            <a:off x="457225" y="993775"/>
            <a:ext cx="8210551" cy="0"/>
          </a:xfrm>
          <a:prstGeom prst="line">
            <a:avLst/>
          </a:prstGeom>
          <a:ln w="22225">
            <a:gradFill flip="none" rotWithShape="1">
              <a:gsLst>
                <a:gs pos="55000">
                  <a:srgbClr val="0166B6"/>
                </a:gs>
                <a:gs pos="81000">
                  <a:srgbClr val="C1E3FF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8"/>
          <p:cNvSpPr txBox="1">
            <a:spLocks noChangeArrowheads="1"/>
          </p:cNvSpPr>
          <p:nvPr userDrawn="1"/>
        </p:nvSpPr>
        <p:spPr bwMode="auto">
          <a:xfrm>
            <a:off x="8758238" y="6637338"/>
            <a:ext cx="254000" cy="1698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fld id="{341D4D9C-96AE-4D22-8EA3-2D7CDA79A8F5}" type="slidenum">
              <a:rPr lang="en-US" altLang="pl-PL" sz="1100" b="1">
                <a:solidFill>
                  <a:srgbClr val="4D4D4D"/>
                </a:solidFill>
                <a:latin typeface="Calibri" pitchFamily="34" charset="0"/>
              </a:rPr>
              <a:pPr eaLnBrk="1" hangingPunct="1">
                <a:defRPr/>
              </a:pPr>
              <a:t>‹#›</a:t>
            </a:fld>
            <a:endParaRPr lang="en-US" altLang="pl-PL" sz="1100" b="1">
              <a:solidFill>
                <a:srgbClr val="4D4D4D"/>
              </a:solidFill>
              <a:latin typeface="Calibri" pitchFamily="34" charset="0"/>
            </a:endParaRPr>
          </a:p>
          <a:p>
            <a:pPr>
              <a:defRPr/>
            </a:pPr>
            <a:endParaRPr lang="en-US" altLang="pl-PL" sz="800" b="1">
              <a:solidFill>
                <a:srgbClr val="4D4D4D"/>
              </a:solidFill>
              <a:latin typeface="Calibri" pitchFamily="34" charset="0"/>
            </a:endParaRPr>
          </a:p>
        </p:txBody>
      </p:sp>
      <p:grpSp>
        <p:nvGrpSpPr>
          <p:cNvPr id="7" name="Group 9"/>
          <p:cNvGrpSpPr>
            <a:grpSpLocks/>
          </p:cNvGrpSpPr>
          <p:nvPr userDrawn="1"/>
        </p:nvGrpSpPr>
        <p:grpSpPr bwMode="auto">
          <a:xfrm>
            <a:off x="7207250" y="6053138"/>
            <a:ext cx="1936750" cy="466725"/>
            <a:chOff x="4894376" y="4525264"/>
            <a:chExt cx="1963624" cy="348354"/>
          </a:xfrm>
        </p:grpSpPr>
        <p:pic>
          <p:nvPicPr>
            <p:cNvPr id="8" name="flag_poland" descr="Datei:Flag of Poland.svg"/>
            <p:cNvPicPr>
              <a:picLocks noChangeArrowheads="1"/>
            </p:cNvPicPr>
            <p:nvPr userDrawn="1"/>
          </p:nvPicPr>
          <p:blipFill>
            <a:blip r:embed="rId7"/>
            <a:srcRect r="6250"/>
            <a:stretch>
              <a:fillRect/>
            </a:stretch>
          </p:blipFill>
          <p:spPr bwMode="auto">
            <a:xfrm flipH="1">
              <a:off x="5055329" y="4704180"/>
              <a:ext cx="1802671" cy="109009"/>
            </a:xfrm>
            <a:prstGeom prst="rect">
              <a:avLst/>
            </a:prstGeom>
            <a:noFill/>
            <a:ln w="3175">
              <a:noFill/>
            </a:ln>
            <a:effectLst>
              <a:outerShdw blurRad="101600" dist="38100" dir="18900000" algn="bl" rotWithShape="0">
                <a:prstClr val="black">
                  <a:alpha val="21000"/>
                </a:prstClr>
              </a:outerShdw>
            </a:effectLst>
          </p:spPr>
        </p:pic>
        <p:sp>
          <p:nvSpPr>
            <p:cNvPr id="9" name="Rectangle 13"/>
            <p:cNvSpPr/>
            <p:nvPr userDrawn="1"/>
          </p:nvSpPr>
          <p:spPr>
            <a:xfrm>
              <a:off x="4894376" y="4525264"/>
              <a:ext cx="1088524" cy="348354"/>
            </a:xfrm>
            <a:prstGeom prst="rect">
              <a:avLst/>
            </a:prstGeom>
            <a:gradFill>
              <a:gsLst>
                <a:gs pos="68000">
                  <a:srgbClr val="FFFFFF">
                    <a:alpha val="76000"/>
                  </a:srgbClr>
                </a:gs>
                <a:gs pos="21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21594000" scaled="0"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l-PL">
                <a:solidFill>
                  <a:srgbClr val="FFFFFF"/>
                </a:solidFill>
              </a:endParaRPr>
            </a:p>
          </p:txBody>
        </p:sp>
      </p:grpSp>
      <p:pic>
        <p:nvPicPr>
          <p:cNvPr id="10" name="Picture 149" descr="https://www.mr.gov.pl/media/13021/logo_pl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713" y="6494463"/>
            <a:ext cx="94932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25" y="188384"/>
            <a:ext cx="8210551" cy="753533"/>
          </a:xfrm>
          <a:prstGeom prst="rect">
            <a:avLst/>
          </a:prstGeom>
        </p:spPr>
        <p:txBody>
          <a:bodyPr lIns="121861" tIns="60930" rIns="121861" bIns="6093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936528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/>
          <p:cNvPicPr>
            <a:picLocks noChangeAspect="1"/>
          </p:cNvPicPr>
          <p:nvPr userDrawn="1"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9" r="39140" b="31804"/>
          <a:stretch>
            <a:fillRect/>
          </a:stretch>
        </p:blipFill>
        <p:spPr bwMode="auto">
          <a:xfrm>
            <a:off x="5713413" y="547688"/>
            <a:ext cx="3419475" cy="430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0"/>
          <p:cNvSpPr/>
          <p:nvPr userDrawn="1"/>
        </p:nvSpPr>
        <p:spPr>
          <a:xfrm>
            <a:off x="5643563" y="547688"/>
            <a:ext cx="3495675" cy="4295775"/>
          </a:xfrm>
          <a:prstGeom prst="rect">
            <a:avLst/>
          </a:prstGeom>
          <a:solidFill>
            <a:schemeClr val="bg1">
              <a:alpha val="65000"/>
            </a:schemeClr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FFFFFF"/>
              </a:solidFill>
            </a:endParaRPr>
          </a:p>
        </p:txBody>
      </p:sp>
      <p:sp>
        <p:nvSpPr>
          <p:cNvPr id="6" name="Rectangle 14"/>
          <p:cNvSpPr/>
          <p:nvPr userDrawn="1"/>
        </p:nvSpPr>
        <p:spPr>
          <a:xfrm flipV="1">
            <a:off x="0" y="-8994"/>
            <a:ext cx="9144000" cy="243819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101600" dist="88900" dir="5400000">
              <a:prstClr val="black">
                <a:alpha val="14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000000"/>
              </a:solidFill>
            </a:endParaRPr>
          </a:p>
        </p:txBody>
      </p:sp>
      <p:sp>
        <p:nvSpPr>
          <p:cNvPr id="7" name="Rectangle 21"/>
          <p:cNvSpPr/>
          <p:nvPr userDrawn="1"/>
        </p:nvSpPr>
        <p:spPr>
          <a:xfrm>
            <a:off x="0" y="4843849"/>
            <a:ext cx="9144000" cy="2014152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254000" dist="127000" dir="5400000">
              <a:prstClr val="black">
                <a:alpha val="16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000000"/>
              </a:solidFill>
            </a:endParaRPr>
          </a:p>
        </p:txBody>
      </p:sp>
      <p:pic>
        <p:nvPicPr>
          <p:cNvPr id="8" name="Picture 2" descr="https://www.mr.gov.pl/media/13021/logo_pl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800" y="1200150"/>
            <a:ext cx="3556000" cy="11366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9"/>
          <p:cNvSpPr/>
          <p:nvPr userDrawn="1"/>
        </p:nvSpPr>
        <p:spPr>
          <a:xfrm>
            <a:off x="536575" y="1096963"/>
            <a:ext cx="4176713" cy="1323975"/>
          </a:xfrm>
          <a:prstGeom prst="rect">
            <a:avLst/>
          </a:prstGeom>
          <a:solidFill>
            <a:srgbClr val="FFFFFF">
              <a:alpha val="82000"/>
            </a:srgb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 sz="900" dirty="0">
              <a:solidFill>
                <a:srgbClr val="000000"/>
              </a:solidFill>
            </a:endParaRPr>
          </a:p>
        </p:txBody>
      </p:sp>
      <p:cxnSp>
        <p:nvCxnSpPr>
          <p:cNvPr id="10" name="Straight Connector 16"/>
          <p:cNvCxnSpPr/>
          <p:nvPr userDrawn="1"/>
        </p:nvCxnSpPr>
        <p:spPr>
          <a:xfrm>
            <a:off x="1868488" y="2741613"/>
            <a:ext cx="259715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3688" y="4992647"/>
            <a:ext cx="6912000" cy="1244641"/>
          </a:xfrm>
        </p:spPr>
        <p:txBody>
          <a:bodyPr anchor="t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63688" y="3573016"/>
            <a:ext cx="6912000" cy="1109522"/>
          </a:xfrm>
        </p:spPr>
        <p:txBody>
          <a:bodyPr anchor="b"/>
          <a:lstStyle>
            <a:lvl1pPr marL="0" indent="0" algn="l">
              <a:buNone/>
              <a:defRPr sz="2400" baseline="0">
                <a:solidFill>
                  <a:schemeClr val="accent4">
                    <a:lumMod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50915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główek sekcj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ostokąt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6" name="Prostokąt 5"/>
          <p:cNvSpPr/>
          <p:nvPr userDrawn="1"/>
        </p:nvSpPr>
        <p:spPr>
          <a:xfrm>
            <a:off x="0" y="4384675"/>
            <a:ext cx="9144000" cy="1852613"/>
          </a:xfrm>
          <a:prstGeom prst="rect">
            <a:avLst/>
          </a:prstGeom>
          <a:solidFill>
            <a:schemeClr val="tx1">
              <a:alpha val="40000"/>
            </a:schemeClr>
          </a:solidFill>
        </p:spPr>
        <p:txBody>
          <a:bodyPr lIns="504000" tIns="108000" bIns="108000" anchor="b">
            <a:normAutofit/>
          </a:bodyPr>
          <a:lstStyle/>
          <a:p>
            <a:pPr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None/>
              <a:defRPr/>
            </a:pPr>
            <a:endParaRPr lang="pl-PL">
              <a:solidFill>
                <a:schemeClr val="bg1"/>
              </a:solidFill>
              <a:latin typeface="+mn-lt"/>
              <a:cs typeface="+mn-cs"/>
            </a:endParaRPr>
          </a:p>
        </p:txBody>
      </p:sp>
      <p:pic>
        <p:nvPicPr>
          <p:cNvPr id="7" name="Picture 19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/>
          </a:blip>
          <a:srcRect l="2249" r="39140" b="31804"/>
          <a:stretch>
            <a:fillRect/>
          </a:stretch>
        </p:blipFill>
        <p:spPr bwMode="auto">
          <a:xfrm>
            <a:off x="5940055" y="351706"/>
            <a:ext cx="3203945" cy="4032448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4393679"/>
            <a:ext cx="9144000" cy="689157"/>
          </a:xfrm>
          <a:noFill/>
        </p:spPr>
        <p:txBody>
          <a:bodyPr lIns="504000" tIns="108000" bIns="108000" anchor="b"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085184"/>
            <a:ext cx="9144000" cy="1160142"/>
          </a:xfrm>
          <a:noFill/>
        </p:spPr>
        <p:txBody>
          <a:bodyPr lIns="504000" tIns="108000" bIns="108000" anchor="t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pl-PL" dirty="0"/>
              <a:t>Kliknij, aby edytować sty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441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2" y="1196752"/>
            <a:ext cx="4041773" cy="5040536"/>
          </a:xfrm>
        </p:spPr>
        <p:txBody>
          <a:bodyPr/>
          <a:lstStyle>
            <a:lvl1pPr>
              <a:defRPr lang="pl-PL" dirty="0" smtClean="0"/>
            </a:lvl1pPr>
            <a:lvl2pPr>
              <a:defRPr lang="pl-PL" dirty="0" smtClean="0"/>
            </a:lvl2pPr>
            <a:lvl3pPr>
              <a:defRPr lang="pl-PL" dirty="0" smtClean="0"/>
            </a:lvl3pPr>
            <a:lvl4pPr>
              <a:defRPr lang="pl-PL" dirty="0" smtClean="0"/>
            </a:lvl4pPr>
            <a:lvl5pPr>
              <a:defRPr lang="en-US" dirty="0"/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0262" y="1196752"/>
            <a:ext cx="4041774" cy="5040536"/>
          </a:xfrm>
        </p:spPr>
        <p:txBody>
          <a:bodyPr/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C46539-36A2-45B2-BC8F-62FE8CC15026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FA1581-E55E-410A-BD6D-ADB893F4B1F1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80032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13" y="1196752"/>
            <a:ext cx="4029869" cy="823912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313" y="2132856"/>
            <a:ext cx="4029869" cy="4056807"/>
          </a:xfrm>
        </p:spPr>
        <p:txBody>
          <a:bodyPr/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56045" y="1196752"/>
            <a:ext cx="4025992" cy="823912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56045" y="2132856"/>
            <a:ext cx="4025992" cy="4056807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10" name="Tytuł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7F8427-99D9-4872-B5FD-BD912D47FF68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302094-67CB-4670-9C3B-9B6EA76AA05A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03484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48F2D6-A08C-410A-8574-02B61DFA4C8A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A53F61-3A30-449A-87D0-8E6A9CCABA31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407403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85110C-5582-4C03-9F32-C88C988B7B22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39028D-AF96-4BEA-B0D1-61F60897EEBC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61953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zdję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2"/>
          <p:cNvCxnSpPr/>
          <p:nvPr userDrawn="1"/>
        </p:nvCxnSpPr>
        <p:spPr>
          <a:xfrm>
            <a:off x="457200" y="1005681"/>
            <a:ext cx="4114800" cy="0"/>
          </a:xfrm>
          <a:prstGeom prst="line">
            <a:avLst/>
          </a:prstGeom>
          <a:ln w="22225">
            <a:gradFill flip="none" rotWithShape="1">
              <a:gsLst>
                <a:gs pos="55000">
                  <a:srgbClr val="0166B6"/>
                </a:gs>
                <a:gs pos="81000">
                  <a:srgbClr val="C1E3FF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21"/>
          <p:cNvSpPr/>
          <p:nvPr userDrawn="1"/>
        </p:nvSpPr>
        <p:spPr>
          <a:xfrm>
            <a:off x="4572000" y="0"/>
            <a:ext cx="4572000" cy="6858001"/>
          </a:xfrm>
          <a:prstGeom prst="rect">
            <a:avLst/>
          </a:prstGeom>
          <a:solidFill>
            <a:srgbClr val="0D5681"/>
          </a:solidFill>
          <a:ln w="22225" cap="flat" cmpd="sng" algn="ctr">
            <a:noFill/>
            <a:prstDash val="solid"/>
          </a:ln>
          <a:effectLst>
            <a:innerShdw blurRad="254000" dist="127000" dir="5400000">
              <a:prstClr val="black">
                <a:alpha val="16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842" tIns="60921" rIns="121842" bIns="6092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3339" y="1124744"/>
            <a:ext cx="3944645" cy="5112544"/>
          </a:xfrm>
        </p:spPr>
        <p:txBody>
          <a:bodyPr/>
          <a:lstStyle>
            <a:lvl1pPr>
              <a:defRPr lang="pl-PL" dirty="0" smtClean="0"/>
            </a:lvl1pPr>
            <a:lvl2pPr>
              <a:defRPr lang="pl-PL" dirty="0" smtClean="0"/>
            </a:lvl2pPr>
            <a:lvl3pPr>
              <a:defRPr lang="pl-PL" dirty="0" smtClean="0"/>
            </a:lvl3pPr>
            <a:lvl4pPr>
              <a:defRPr lang="pl-PL" dirty="0" smtClean="0"/>
            </a:lvl4pPr>
            <a:lvl5pPr>
              <a:defRPr lang="en-US" dirty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  <p:sp>
        <p:nvSpPr>
          <p:cNvPr id="9" name="Tytuł 8"/>
          <p:cNvSpPr>
            <a:spLocks noGrp="1"/>
          </p:cNvSpPr>
          <p:nvPr>
            <p:ph type="title"/>
          </p:nvPr>
        </p:nvSpPr>
        <p:spPr>
          <a:xfrm>
            <a:off x="468313" y="1"/>
            <a:ext cx="3959671" cy="1030288"/>
          </a:xfrm>
        </p:spPr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13" name="Symbol zastępczy obrazu 12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64063" cy="6858000"/>
          </a:xfrm>
        </p:spPr>
        <p:txBody>
          <a:bodyPr rtlCol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 ikonę, aby dodać obraz</a:t>
            </a:r>
            <a:endParaRPr lang="pl-PL" noProof="0" dirty="0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4E7DCE-EF7D-4521-BC5D-32D7A53B3E1B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666995-10CC-4891-91AA-E9B71689716B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984876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2"/>
          <p:cNvCxnSpPr/>
          <p:nvPr userDrawn="1"/>
        </p:nvCxnSpPr>
        <p:spPr>
          <a:xfrm>
            <a:off x="457200" y="1005681"/>
            <a:ext cx="8210551" cy="0"/>
          </a:xfrm>
          <a:prstGeom prst="line">
            <a:avLst/>
          </a:prstGeom>
          <a:ln w="22225">
            <a:gradFill flip="none" rotWithShape="1">
              <a:gsLst>
                <a:gs pos="55000">
                  <a:srgbClr val="0166B6"/>
                </a:gs>
                <a:gs pos="81000">
                  <a:srgbClr val="C1E3FF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7" name="Group 9"/>
          <p:cNvGrpSpPr>
            <a:grpSpLocks/>
          </p:cNvGrpSpPr>
          <p:nvPr userDrawn="1"/>
        </p:nvGrpSpPr>
        <p:grpSpPr bwMode="auto">
          <a:xfrm>
            <a:off x="7207250" y="6053138"/>
            <a:ext cx="1936750" cy="466725"/>
            <a:chOff x="4894376" y="4525264"/>
            <a:chExt cx="1963624" cy="348354"/>
          </a:xfrm>
        </p:grpSpPr>
        <p:pic>
          <p:nvPicPr>
            <p:cNvPr id="9" name="flag_poland" descr="Datei:Flag of Poland.svg"/>
            <p:cNvPicPr>
              <a:picLocks noChangeArrowheads="1"/>
            </p:cNvPicPr>
            <p:nvPr userDrawn="1"/>
          </p:nvPicPr>
          <p:blipFill>
            <a:blip r:embed="rId14"/>
            <a:srcRect r="6250"/>
            <a:stretch>
              <a:fillRect/>
            </a:stretch>
          </p:blipFill>
          <p:spPr bwMode="auto">
            <a:xfrm flipH="1">
              <a:off x="5055329" y="4704180"/>
              <a:ext cx="1802671" cy="109009"/>
            </a:xfrm>
            <a:prstGeom prst="rect">
              <a:avLst/>
            </a:prstGeom>
            <a:noFill/>
            <a:ln w="3175">
              <a:noFill/>
            </a:ln>
            <a:effectLst>
              <a:outerShdw blurRad="101600" dist="38100" dir="18900000" algn="bl" rotWithShape="0">
                <a:prstClr val="black">
                  <a:alpha val="21000"/>
                </a:prstClr>
              </a:outerShdw>
            </a:effectLst>
          </p:spPr>
        </p:pic>
        <p:sp>
          <p:nvSpPr>
            <p:cNvPr id="10" name="Rectangle 13"/>
            <p:cNvSpPr/>
            <p:nvPr userDrawn="1"/>
          </p:nvSpPr>
          <p:spPr>
            <a:xfrm>
              <a:off x="4894376" y="4525264"/>
              <a:ext cx="1088524" cy="348354"/>
            </a:xfrm>
            <a:prstGeom prst="rect">
              <a:avLst/>
            </a:prstGeom>
            <a:gradFill>
              <a:gsLst>
                <a:gs pos="68000">
                  <a:srgbClr val="FFFFFF">
                    <a:alpha val="76000"/>
                  </a:srgbClr>
                </a:gs>
                <a:gs pos="21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21594000" scaled="0"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>
                <a:solidFill>
                  <a:srgbClr val="FFFFFF"/>
                </a:solidFill>
              </a:endParaRPr>
            </a:p>
          </p:txBody>
        </p:sp>
      </p:grpSp>
      <p:pic>
        <p:nvPicPr>
          <p:cNvPr id="1028" name="Picture 149" descr="https://www.mr.gov.pl/media/13021/logo_pl.jpg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713" y="6494463"/>
            <a:ext cx="94932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Title Placeholder 1"/>
          <p:cNvSpPr>
            <a:spLocks noGrp="1"/>
          </p:cNvSpPr>
          <p:nvPr>
            <p:ph type="title"/>
          </p:nvPr>
        </p:nvSpPr>
        <p:spPr bwMode="auto">
          <a:xfrm>
            <a:off x="468313" y="0"/>
            <a:ext cx="8199437" cy="1030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  <a:endParaRPr lang="en-US" altLang="pl-PL" smtClean="0"/>
          </a:p>
        </p:txBody>
      </p:sp>
      <p:sp>
        <p:nvSpPr>
          <p:cNvPr id="103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196975"/>
            <a:ext cx="8199437" cy="504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e wzorca tekstu</a:t>
            </a:r>
          </a:p>
          <a:p>
            <a:pPr lvl="1"/>
            <a:r>
              <a:rPr lang="pl-PL" altLang="pl-PL" smtClean="0"/>
              <a:t>Drugi poziom</a:t>
            </a:r>
          </a:p>
          <a:p>
            <a:pPr lvl="2"/>
            <a:r>
              <a:rPr lang="pl-PL" altLang="pl-PL" smtClean="0"/>
              <a:t>Trzeci poziom</a:t>
            </a:r>
          </a:p>
          <a:p>
            <a:pPr lvl="3"/>
            <a:r>
              <a:rPr lang="pl-PL" altLang="pl-PL" smtClean="0"/>
              <a:t>Czwarty poziom</a:t>
            </a:r>
          </a:p>
          <a:p>
            <a:pPr lvl="4"/>
            <a:r>
              <a:rPr lang="pl-PL" altLang="pl-PL" smtClean="0"/>
              <a:t>Piąty poziom</a:t>
            </a:r>
            <a:endParaRPr lang="en-US" altLang="pl-PL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8313" y="6454775"/>
            <a:ext cx="20462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4">
                    <a:lumMod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60DA9AF-95F7-4780-A69D-DB609279A761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27313" y="6454775"/>
            <a:ext cx="47037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4">
                    <a:lumMod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2038" y="6454775"/>
            <a:ext cx="454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4">
                    <a:lumMod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9D75ED1-E9A9-4C18-A9AC-C365425CEAA3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44" r:id="rId1"/>
    <p:sldLayoutId id="2147486236" r:id="rId2"/>
    <p:sldLayoutId id="2147486245" r:id="rId3"/>
    <p:sldLayoutId id="2147486246" r:id="rId4"/>
    <p:sldLayoutId id="2147486237" r:id="rId5"/>
    <p:sldLayoutId id="2147486238" r:id="rId6"/>
    <p:sldLayoutId id="2147486239" r:id="rId7"/>
    <p:sldLayoutId id="2147486247" r:id="rId8"/>
    <p:sldLayoutId id="2147486248" r:id="rId9"/>
    <p:sldLayoutId id="2147486249" r:id="rId10"/>
    <p:sldLayoutId id="2147486250" r:id="rId11"/>
    <p:sldLayoutId id="2147486251" r:id="rId12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 Narrow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 Narrow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 Narrow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 Narrow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 Narrow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0D5681"/>
        </a:buClr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0D5681"/>
        </a:buClr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0D5681"/>
        </a:buClr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0D5681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0D5681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2"/>
          <p:cNvCxnSpPr/>
          <p:nvPr userDrawn="1"/>
        </p:nvCxnSpPr>
        <p:spPr>
          <a:xfrm>
            <a:off x="457200" y="1005681"/>
            <a:ext cx="8210551" cy="0"/>
          </a:xfrm>
          <a:prstGeom prst="line">
            <a:avLst/>
          </a:prstGeom>
          <a:ln w="22225">
            <a:gradFill flip="none" rotWithShape="1">
              <a:gsLst>
                <a:gs pos="55000">
                  <a:srgbClr val="0166B6"/>
                </a:gs>
                <a:gs pos="81000">
                  <a:srgbClr val="C1E3FF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1" name="Group 9"/>
          <p:cNvGrpSpPr>
            <a:grpSpLocks/>
          </p:cNvGrpSpPr>
          <p:nvPr userDrawn="1"/>
        </p:nvGrpSpPr>
        <p:grpSpPr bwMode="auto">
          <a:xfrm>
            <a:off x="7207250" y="6053138"/>
            <a:ext cx="1936750" cy="466725"/>
            <a:chOff x="4894376" y="4525264"/>
            <a:chExt cx="1963624" cy="348354"/>
          </a:xfrm>
        </p:grpSpPr>
        <p:pic>
          <p:nvPicPr>
            <p:cNvPr id="9" name="flag_poland" descr="Datei:Flag of Poland.svg"/>
            <p:cNvPicPr>
              <a:picLocks noChangeArrowheads="1"/>
            </p:cNvPicPr>
            <p:nvPr userDrawn="1"/>
          </p:nvPicPr>
          <p:blipFill>
            <a:blip r:embed="rId15"/>
            <a:srcRect r="6250"/>
            <a:stretch>
              <a:fillRect/>
            </a:stretch>
          </p:blipFill>
          <p:spPr bwMode="auto">
            <a:xfrm flipH="1">
              <a:off x="5055329" y="4704180"/>
              <a:ext cx="1802671" cy="109009"/>
            </a:xfrm>
            <a:prstGeom prst="rect">
              <a:avLst/>
            </a:prstGeom>
            <a:noFill/>
            <a:ln w="3175">
              <a:noFill/>
            </a:ln>
            <a:effectLst>
              <a:outerShdw blurRad="101600" dist="38100" dir="18900000" algn="bl" rotWithShape="0">
                <a:prstClr val="black">
                  <a:alpha val="21000"/>
                </a:prstClr>
              </a:outerShdw>
            </a:effectLst>
          </p:spPr>
        </p:pic>
        <p:sp>
          <p:nvSpPr>
            <p:cNvPr id="10" name="Rectangle 13"/>
            <p:cNvSpPr/>
            <p:nvPr userDrawn="1"/>
          </p:nvSpPr>
          <p:spPr>
            <a:xfrm>
              <a:off x="4894376" y="4525264"/>
              <a:ext cx="1088524" cy="348354"/>
            </a:xfrm>
            <a:prstGeom prst="rect">
              <a:avLst/>
            </a:prstGeom>
            <a:gradFill>
              <a:gsLst>
                <a:gs pos="68000">
                  <a:srgbClr val="FFFFFF">
                    <a:alpha val="76000"/>
                  </a:srgbClr>
                </a:gs>
                <a:gs pos="21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21594000" scaled="0"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>
                <a:solidFill>
                  <a:srgbClr val="FFFFFF"/>
                </a:solidFill>
              </a:endParaRPr>
            </a:p>
          </p:txBody>
        </p:sp>
      </p:grpSp>
      <p:pic>
        <p:nvPicPr>
          <p:cNvPr id="2052" name="Picture 149" descr="https://www.mr.gov.pl/media/13021/logo_pl.jpg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713" y="6494463"/>
            <a:ext cx="949325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Title Placeholder 1"/>
          <p:cNvSpPr>
            <a:spLocks noGrp="1"/>
          </p:cNvSpPr>
          <p:nvPr>
            <p:ph type="title"/>
          </p:nvPr>
        </p:nvSpPr>
        <p:spPr bwMode="auto">
          <a:xfrm>
            <a:off x="468313" y="0"/>
            <a:ext cx="8199437" cy="1030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  <a:endParaRPr lang="en-US" altLang="pl-PL" smtClean="0"/>
          </a:p>
        </p:txBody>
      </p:sp>
      <p:sp>
        <p:nvSpPr>
          <p:cNvPr id="205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196975"/>
            <a:ext cx="8199437" cy="504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e wzorca tekstu</a:t>
            </a:r>
          </a:p>
          <a:p>
            <a:pPr lvl="1"/>
            <a:r>
              <a:rPr lang="pl-PL" altLang="pl-PL" smtClean="0"/>
              <a:t>Drugi poziom</a:t>
            </a:r>
          </a:p>
          <a:p>
            <a:pPr lvl="2"/>
            <a:r>
              <a:rPr lang="pl-PL" altLang="pl-PL" smtClean="0"/>
              <a:t>Trzeci poziom</a:t>
            </a:r>
          </a:p>
          <a:p>
            <a:pPr lvl="3"/>
            <a:r>
              <a:rPr lang="pl-PL" altLang="pl-PL" smtClean="0"/>
              <a:t>Czwarty poziom</a:t>
            </a:r>
          </a:p>
          <a:p>
            <a:pPr lvl="4"/>
            <a:r>
              <a:rPr lang="pl-PL" altLang="pl-PL" smtClean="0"/>
              <a:t>Piąty poziom</a:t>
            </a:r>
            <a:endParaRPr lang="en-US" altLang="pl-PL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8313" y="6454775"/>
            <a:ext cx="20462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9CA2AE">
                    <a:lumMod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B823312-02A4-4687-9EFA-A341A3E5536A}" type="datetime1">
              <a:rPr lang="pl-PL"/>
              <a:pPr>
                <a:defRPr/>
              </a:pPr>
              <a:t>2017-06-20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27313" y="6454775"/>
            <a:ext cx="47037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9CA2AE">
                    <a:lumMod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2038" y="6454775"/>
            <a:ext cx="454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9CA2AE">
                    <a:lumMod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6C147BB-5C01-400B-BB1B-1B5D7D7AE233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52" r:id="rId1"/>
    <p:sldLayoutId id="2147486240" r:id="rId2"/>
    <p:sldLayoutId id="2147486253" r:id="rId3"/>
    <p:sldLayoutId id="2147486254" r:id="rId4"/>
    <p:sldLayoutId id="2147486241" r:id="rId5"/>
    <p:sldLayoutId id="2147486242" r:id="rId6"/>
    <p:sldLayoutId id="2147486243" r:id="rId7"/>
    <p:sldLayoutId id="2147486255" r:id="rId8"/>
    <p:sldLayoutId id="2147486256" r:id="rId9"/>
    <p:sldLayoutId id="2147486257" r:id="rId10"/>
    <p:sldLayoutId id="2147486258" r:id="rId11"/>
    <p:sldLayoutId id="2147486259" r:id="rId12"/>
    <p:sldLayoutId id="2147486260" r:id="rId13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 Narrow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 Narrow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 Narrow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 Narrow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 Narrow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 Narrow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 Narrow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 Narrow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0D5681"/>
        </a:buClr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0D5681"/>
        </a:buClr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0D5681"/>
        </a:buClr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0D5681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0D5681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ytuł 1"/>
          <p:cNvSpPr>
            <a:spLocks noGrp="1"/>
          </p:cNvSpPr>
          <p:nvPr>
            <p:ph type="ctrTitle"/>
          </p:nvPr>
        </p:nvSpPr>
        <p:spPr>
          <a:xfrm>
            <a:off x="971550" y="3357563"/>
            <a:ext cx="6856413" cy="1744662"/>
          </a:xfrm>
        </p:spPr>
        <p:txBody>
          <a:bodyPr/>
          <a:lstStyle/>
          <a:p>
            <a:pPr algn="ctr" eaLnBrk="1" hangingPunct="1"/>
            <a:r>
              <a:rPr lang="pl-PL" altLang="pl-PL" sz="2400" b="1" smtClean="0">
                <a:cs typeface="Arial" charset="0"/>
              </a:rPr>
              <a:t>Krajowe i regionalne specjalizacje – </a:t>
            </a:r>
            <a:br>
              <a:rPr lang="pl-PL" altLang="pl-PL" sz="2400" b="1" smtClean="0">
                <a:cs typeface="Arial" charset="0"/>
              </a:rPr>
            </a:br>
            <a:r>
              <a:rPr lang="pl-PL" altLang="pl-PL" sz="2400" b="1" smtClean="0">
                <a:cs typeface="Arial" charset="0"/>
              </a:rPr>
              <a:t>perspektywy rozwojowe</a:t>
            </a:r>
            <a:r>
              <a:rPr lang="pl-PL" altLang="pl-PL" sz="2400" b="1" smtClean="0">
                <a:latin typeface="Arial" charset="0"/>
                <a:cs typeface="Arial" charset="0"/>
              </a:rPr>
              <a:t/>
            </a:r>
            <a:br>
              <a:rPr lang="pl-PL" altLang="pl-PL" sz="2400" b="1" smtClean="0">
                <a:latin typeface="Arial" charset="0"/>
                <a:cs typeface="Arial" charset="0"/>
              </a:rPr>
            </a:br>
            <a:r>
              <a:rPr lang="pl-PL" altLang="pl-PL" b="1" smtClean="0"/>
              <a:t/>
            </a:r>
            <a:br>
              <a:rPr lang="pl-PL" altLang="pl-PL" b="1" smtClean="0"/>
            </a:br>
            <a:endParaRPr lang="pl-PL" altLang="pl-PL" smtClean="0"/>
          </a:p>
        </p:txBody>
      </p:sp>
      <p:sp>
        <p:nvSpPr>
          <p:cNvPr id="22531" name="Podtytuł 2"/>
          <p:cNvSpPr>
            <a:spLocks noGrp="1"/>
          </p:cNvSpPr>
          <p:nvPr>
            <p:ph type="subTitle" idx="1"/>
          </p:nvPr>
        </p:nvSpPr>
        <p:spPr>
          <a:xfrm>
            <a:off x="1187450" y="5157788"/>
            <a:ext cx="6856413" cy="1079500"/>
          </a:xfrm>
        </p:spPr>
        <p:txBody>
          <a:bodyPr/>
          <a:lstStyle/>
          <a:p>
            <a:pPr algn="ctr" eaLnBrk="1" hangingPunct="1">
              <a:defRPr/>
            </a:pPr>
            <a:r>
              <a:rPr lang="pl-PL" altLang="pl-PL" sz="1800" dirty="0" smtClean="0">
                <a:latin typeface="+mj-lt"/>
              </a:rPr>
              <a:t>Beata Lubos</a:t>
            </a:r>
          </a:p>
          <a:p>
            <a:pPr algn="ctr" eaLnBrk="1" hangingPunct="1">
              <a:defRPr/>
            </a:pPr>
            <a:r>
              <a:rPr lang="pl-PL" altLang="pl-PL" sz="1800" dirty="0" smtClean="0">
                <a:latin typeface="+mj-lt"/>
              </a:rPr>
              <a:t>Naczelnik Wydziału Polityki Innowacyjności, </a:t>
            </a:r>
          </a:p>
          <a:p>
            <a:pPr algn="ctr" eaLnBrk="1" hangingPunct="1">
              <a:defRPr/>
            </a:pPr>
            <a:r>
              <a:rPr lang="pl-PL" altLang="pl-PL" sz="1800" dirty="0" smtClean="0">
                <a:latin typeface="+mj-lt"/>
              </a:rPr>
              <a:t>Departament Innowacji, </a:t>
            </a:r>
            <a:r>
              <a:rPr lang="pl-PL" altLang="pl-PL" sz="1800" dirty="0" err="1" smtClean="0">
                <a:latin typeface="+mj-lt"/>
              </a:rPr>
              <a:t>MR</a:t>
            </a:r>
            <a:endParaRPr lang="pl-PL" altLang="pl-PL" sz="1800" dirty="0" smtClean="0">
              <a:latin typeface="+mj-lt"/>
            </a:endParaRPr>
          </a:p>
          <a:p>
            <a:pPr algn="ctr" eaLnBrk="1" hangingPunct="1">
              <a:defRPr/>
            </a:pPr>
            <a:r>
              <a:rPr lang="pl-PL" altLang="pl-PL" sz="1800" dirty="0" smtClean="0">
                <a:latin typeface="+mj-lt"/>
              </a:rPr>
              <a:t>Katowice , 22 czerwca 2017 r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smtClean="0"/>
              <a:t>Synergia tematyczna KIS i RIS</a:t>
            </a:r>
          </a:p>
        </p:txBody>
      </p:sp>
      <p:graphicFrame>
        <p:nvGraphicFramePr>
          <p:cNvPr id="3" name="Tabela 2"/>
          <p:cNvGraphicFramePr>
            <a:graphicFrameLocks noGrp="1"/>
          </p:cNvGraphicFramePr>
          <p:nvPr/>
        </p:nvGraphicFramePr>
        <p:xfrm>
          <a:off x="528638" y="1268413"/>
          <a:ext cx="8078787" cy="54070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117788"/>
                <a:gridCol w="3960999"/>
              </a:tblGrid>
              <a:tr h="63095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 dirty="0">
                          <a:effectLst/>
                        </a:rPr>
                        <a:t>Krajowa inteligentna specjalizacja</a:t>
                      </a:r>
                      <a:endParaRPr lang="pl-PL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2" marR="6857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 dirty="0">
                          <a:effectLst/>
                        </a:rPr>
                        <a:t>Regionalna inteligentna specjalizacja – woj. śląskie</a:t>
                      </a:r>
                      <a:endParaRPr lang="pl-PL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2" marR="68572" marT="0" marB="0"/>
                </a:tc>
              </a:tr>
              <a:tr h="196296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KIS 1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Technologie inżynierii medycznej, w tym biotechnologie medyczne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KIS 2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Diagnostyka i terapia chorób cywilizacyjnych oraz w medycynie spersonalizowanej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KIS 3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Wytwarzanie produktów leczniczych</a:t>
                      </a:r>
                      <a:endParaRPr lang="pl-PL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2" marR="6857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</a:rPr>
                        <a:t>medycyna </a:t>
                      </a:r>
                      <a:endParaRPr lang="pl-PL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2" marR="68572" marT="0" marB="0"/>
                </a:tc>
              </a:tr>
              <a:tr h="98148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KIS 7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Wysokosprawne, niskoemisyjne i zintegrowane układy wytwarzania, magazynowania przesyłu i dystrybucji energii</a:t>
                      </a:r>
                      <a:endParaRPr lang="pl-PL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2" marR="6857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energetyka</a:t>
                      </a:r>
                      <a:endParaRPr lang="pl-PL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2" marR="68572" marT="0" marB="0"/>
                </a:tc>
              </a:tr>
              <a:tr h="98148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KIS 10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Nowoczesne technologie pozyskiwania, przetwórstwa i wykorzystania surowców naturalnych oraz wytwarzanie ich substytutów</a:t>
                      </a:r>
                      <a:endParaRPr lang="pl-PL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2" marR="6857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energetyka</a:t>
                      </a:r>
                      <a:endParaRPr lang="pl-PL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2" marR="68572" marT="0" marB="0"/>
                </a:tc>
              </a:tr>
              <a:tr h="85015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 smtClean="0">
                          <a:effectLst/>
                        </a:rPr>
                        <a:t>KIS 15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 smtClean="0">
                          <a:effectLst/>
                        </a:rPr>
                        <a:t> Inteligentne sieci i technologie </a:t>
                      </a:r>
                      <a:r>
                        <a:rPr lang="pl-PL" sz="1400" dirty="0" err="1" smtClean="0">
                          <a:effectLst/>
                        </a:rPr>
                        <a:t>geoinformacyjne</a:t>
                      </a:r>
                      <a:endParaRPr lang="pl-PL" sz="1400" dirty="0" smtClean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l-PL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2" marR="68572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dirty="0">
                          <a:effectLst/>
                        </a:rPr>
                        <a:t> </a:t>
                      </a:r>
                      <a:r>
                        <a:rPr lang="pl-PL" sz="1400" dirty="0" smtClean="0">
                          <a:effectLst/>
                        </a:rPr>
                        <a:t>technologie informacyjne i komunikacyjne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pl-PL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2" marR="68572" marT="0" marB="0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Tytuł 1"/>
          <p:cNvSpPr>
            <a:spLocks noGrp="1"/>
          </p:cNvSpPr>
          <p:nvPr>
            <p:ph type="ctrTitle"/>
          </p:nvPr>
        </p:nvSpPr>
        <p:spPr>
          <a:xfrm>
            <a:off x="1763713" y="2936875"/>
            <a:ext cx="6694487" cy="1139825"/>
          </a:xfrm>
        </p:spPr>
        <p:txBody>
          <a:bodyPr/>
          <a:lstStyle/>
          <a:p>
            <a:pPr eaLnBrk="1" hangingPunct="1">
              <a:defRPr/>
            </a:pPr>
            <a:r>
              <a:rPr lang="pl-PL" altLang="pl-PL" b="1" dirty="0" smtClean="0">
                <a:latin typeface="+mn-lt"/>
              </a:rPr>
              <a:t>Dziękuję za uwagę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ytuł 1"/>
          <p:cNvSpPr>
            <a:spLocks noGrp="1"/>
          </p:cNvSpPr>
          <p:nvPr>
            <p:ph type="title"/>
          </p:nvPr>
        </p:nvSpPr>
        <p:spPr>
          <a:xfrm>
            <a:off x="457200" y="188913"/>
            <a:ext cx="8210550" cy="752475"/>
          </a:xfrm>
        </p:spPr>
        <p:txBody>
          <a:bodyPr/>
          <a:lstStyle/>
          <a:p>
            <a:r>
              <a:rPr lang="pl-PL" altLang="pl-PL" smtClean="0"/>
              <a:t>Monitorowanie KIS</a:t>
            </a:r>
          </a:p>
        </p:txBody>
      </p:sp>
      <p:pic>
        <p:nvPicPr>
          <p:cNvPr id="21507" name="Obraz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8" y="1125538"/>
            <a:ext cx="9180512" cy="573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ytuł 1"/>
          <p:cNvSpPr>
            <a:spLocks noGrp="1"/>
          </p:cNvSpPr>
          <p:nvPr>
            <p:ph type="title"/>
          </p:nvPr>
        </p:nvSpPr>
        <p:spPr>
          <a:xfrm>
            <a:off x="457200" y="188913"/>
            <a:ext cx="8210550" cy="752475"/>
          </a:xfrm>
        </p:spPr>
        <p:txBody>
          <a:bodyPr/>
          <a:lstStyle/>
          <a:p>
            <a:r>
              <a:rPr lang="pl-PL" altLang="pl-PL" smtClean="0"/>
              <a:t>System monitorowania Krajowej Inteligentnej Specjalizacji </a:t>
            </a:r>
          </a:p>
        </p:txBody>
      </p:sp>
      <p:graphicFrame>
        <p:nvGraphicFramePr>
          <p:cNvPr id="3" name="Diagram 2"/>
          <p:cNvGraphicFramePr/>
          <p:nvPr/>
        </p:nvGraphicFramePr>
        <p:xfrm>
          <a:off x="1524000" y="1397000"/>
          <a:ext cx="6504384" cy="4840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ytuł 1"/>
          <p:cNvSpPr>
            <a:spLocks noGrp="1"/>
          </p:cNvSpPr>
          <p:nvPr>
            <p:ph type="title"/>
          </p:nvPr>
        </p:nvSpPr>
        <p:spPr>
          <a:xfrm>
            <a:off x="457200" y="188913"/>
            <a:ext cx="8210550" cy="752475"/>
          </a:xfrm>
        </p:spPr>
        <p:txBody>
          <a:bodyPr/>
          <a:lstStyle/>
          <a:p>
            <a:r>
              <a:rPr lang="pl-PL" altLang="pl-PL" smtClean="0"/>
              <a:t>Dane z programów operacyjnych i Horyzont 2020 </a:t>
            </a:r>
          </a:p>
        </p:txBody>
      </p:sp>
      <p:graphicFrame>
        <p:nvGraphicFramePr>
          <p:cNvPr id="3" name="Diagram 2"/>
          <p:cNvGraphicFramePr/>
          <p:nvPr/>
        </p:nvGraphicFramePr>
        <p:xfrm>
          <a:off x="827584" y="1340768"/>
          <a:ext cx="6864424" cy="4336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23556" name="Grupa 3"/>
          <p:cNvGrpSpPr>
            <a:grpSpLocks/>
          </p:cNvGrpSpPr>
          <p:nvPr/>
        </p:nvGrpSpPr>
        <p:grpSpPr bwMode="auto">
          <a:xfrm>
            <a:off x="1692275" y="5516563"/>
            <a:ext cx="5256213" cy="954087"/>
            <a:chOff x="864097" y="3902501"/>
            <a:chExt cx="5256584" cy="953138"/>
          </a:xfrm>
        </p:grpSpPr>
        <p:sp>
          <p:nvSpPr>
            <p:cNvPr id="5" name="Prostokąt 4"/>
            <p:cNvSpPr/>
            <p:nvPr/>
          </p:nvSpPr>
          <p:spPr>
            <a:xfrm>
              <a:off x="864097" y="3902501"/>
              <a:ext cx="4775537" cy="90714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" name="Prostokąt 5"/>
            <p:cNvSpPr/>
            <p:nvPr/>
          </p:nvSpPr>
          <p:spPr>
            <a:xfrm>
              <a:off x="864097" y="3948492"/>
              <a:ext cx="5256584" cy="90714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149352" tIns="149352" rIns="149352" bIns="149352" spcCol="1270" anchor="ctr"/>
            <a:lstStyle/>
            <a:p>
              <a:pPr algn="ctr" defTabSz="9334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l-PL" sz="2100" b="1" dirty="0"/>
                <a:t>Dane pozyskiwane przez MR z IZ co kwartał 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ytuł 1"/>
          <p:cNvSpPr>
            <a:spLocks noGrp="1"/>
          </p:cNvSpPr>
          <p:nvPr>
            <p:ph type="title"/>
          </p:nvPr>
        </p:nvSpPr>
        <p:spPr>
          <a:xfrm>
            <a:off x="457200" y="188913"/>
            <a:ext cx="8210550" cy="752475"/>
          </a:xfrm>
        </p:spPr>
        <p:txBody>
          <a:bodyPr/>
          <a:lstStyle/>
          <a:p>
            <a:r>
              <a:rPr lang="pl-PL" altLang="pl-PL" smtClean="0"/>
              <a:t>Monitorowanie KIS – Złożone wnioski (30.03.2017)</a:t>
            </a:r>
          </a:p>
        </p:txBody>
      </p:sp>
      <p:graphicFrame>
        <p:nvGraphicFramePr>
          <p:cNvPr id="6" name="Diagram 5"/>
          <p:cNvGraphicFramePr/>
          <p:nvPr/>
        </p:nvGraphicFramePr>
        <p:xfrm>
          <a:off x="755576" y="1268760"/>
          <a:ext cx="7560840" cy="52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ytuł 1"/>
          <p:cNvSpPr>
            <a:spLocks noGrp="1"/>
          </p:cNvSpPr>
          <p:nvPr>
            <p:ph type="title"/>
          </p:nvPr>
        </p:nvSpPr>
        <p:spPr>
          <a:xfrm>
            <a:off x="457200" y="188913"/>
            <a:ext cx="8210550" cy="752475"/>
          </a:xfrm>
        </p:spPr>
        <p:txBody>
          <a:bodyPr/>
          <a:lstStyle/>
          <a:p>
            <a:r>
              <a:rPr lang="pl-PL" altLang="pl-PL" smtClean="0"/>
              <a:t>Monitorowanie KIS – Liczba wniosków (rekomendowane/złożone = success rate)</a:t>
            </a:r>
          </a:p>
        </p:txBody>
      </p:sp>
      <p:graphicFrame>
        <p:nvGraphicFramePr>
          <p:cNvPr id="6" name="Diagram 5"/>
          <p:cNvGraphicFramePr/>
          <p:nvPr/>
        </p:nvGraphicFramePr>
        <p:xfrm>
          <a:off x="755576" y="1268760"/>
          <a:ext cx="7560840" cy="52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ytuł 1"/>
          <p:cNvSpPr>
            <a:spLocks noGrp="1"/>
          </p:cNvSpPr>
          <p:nvPr>
            <p:ph type="title"/>
          </p:nvPr>
        </p:nvSpPr>
        <p:spPr>
          <a:xfrm>
            <a:off x="457200" y="188913"/>
            <a:ext cx="8210550" cy="752475"/>
          </a:xfrm>
        </p:spPr>
        <p:txBody>
          <a:bodyPr/>
          <a:lstStyle/>
          <a:p>
            <a:r>
              <a:rPr lang="pl-PL" altLang="pl-PL" smtClean="0"/>
              <a:t>Zmiany w stosunku do poprzedniego monitorowania</a:t>
            </a:r>
          </a:p>
        </p:txBody>
      </p:sp>
      <p:graphicFrame>
        <p:nvGraphicFramePr>
          <p:cNvPr id="4" name="Diagram 3"/>
          <p:cNvGraphicFramePr/>
          <p:nvPr/>
        </p:nvGraphicFramePr>
        <p:xfrm>
          <a:off x="683568" y="1124744"/>
          <a:ext cx="7560840" cy="56166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204913"/>
            <a:ext cx="3394075" cy="639762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pl-PL" sz="1800" dirty="0">
                <a:solidFill>
                  <a:srgbClr val="0070C0"/>
                </a:solidFill>
                <a:latin typeface="Arial Black" panose="020B0A04020102020204" pitchFamily="34" charset="0"/>
                <a:ea typeface="+mj-ea"/>
                <a:cs typeface="+mj-cs"/>
              </a:rPr>
              <a:t>Udział w wartości </a:t>
            </a:r>
            <a:r>
              <a:rPr lang="pl-PL" sz="1800" dirty="0" smtClean="0">
                <a:solidFill>
                  <a:srgbClr val="0070C0"/>
                </a:solidFill>
                <a:latin typeface="Arial Black" panose="020B0A04020102020204" pitchFamily="34" charset="0"/>
                <a:ea typeface="+mj-ea"/>
                <a:cs typeface="+mj-cs"/>
              </a:rPr>
              <a:t>bezwzględnej</a:t>
            </a:r>
            <a:endParaRPr lang="pl-PL" sz="1800" dirty="0">
              <a:solidFill>
                <a:srgbClr val="0070C0"/>
              </a:solidFill>
              <a:latin typeface="Arial Black" panose="020B0A04020102020204" pitchFamily="34" charset="0"/>
              <a:ea typeface="+mj-ea"/>
              <a:cs typeface="+mj-cs"/>
            </a:endParaRPr>
          </a:p>
        </p:txBody>
      </p:sp>
      <p:sp>
        <p:nvSpPr>
          <p:cNvPr id="27651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204913"/>
            <a:ext cx="3959225" cy="639762"/>
          </a:xfrm>
        </p:spPr>
        <p:txBody>
          <a:bodyPr/>
          <a:lstStyle/>
          <a:p>
            <a:pPr algn="ctr"/>
            <a:r>
              <a:rPr lang="pl-PL" altLang="pl-PL" sz="1800" smtClean="0">
                <a:solidFill>
                  <a:srgbClr val="0070C0"/>
                </a:solidFill>
                <a:latin typeface="Arial Black" pitchFamily="34" charset="0"/>
              </a:rPr>
              <a:t>Udział zważony wielkością regionu (liczbą ludności)</a:t>
            </a:r>
          </a:p>
        </p:txBody>
      </p:sp>
      <p:graphicFrame>
        <p:nvGraphicFramePr>
          <p:cNvPr id="7" name="Symbol zastępczy zawartości 6"/>
          <p:cNvGraphicFramePr>
            <a:graphicFrameLocks noGrp="1"/>
          </p:cNvGraphicFramePr>
          <p:nvPr>
            <p:ph sz="half" idx="2"/>
          </p:nvPr>
        </p:nvGraphicFramePr>
        <p:xfrm>
          <a:off x="107504" y="1916832"/>
          <a:ext cx="4389884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Symbol zastępczy zawartości 7"/>
          <p:cNvGraphicFramePr>
            <a:graphicFrameLocks noGrp="1"/>
          </p:cNvGraphicFramePr>
          <p:nvPr>
            <p:ph sz="quarter" idx="4"/>
          </p:nvPr>
        </p:nvGraphicFramePr>
        <p:xfrm>
          <a:off x="4572000" y="1916832"/>
          <a:ext cx="4498975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654" name="Tytuł 1"/>
          <p:cNvSpPr>
            <a:spLocks noGrp="1"/>
          </p:cNvSpPr>
          <p:nvPr>
            <p:ph type="title"/>
          </p:nvPr>
        </p:nvSpPr>
        <p:spPr>
          <a:xfrm>
            <a:off x="457200" y="260350"/>
            <a:ext cx="8229600" cy="419100"/>
          </a:xfrm>
        </p:spPr>
        <p:txBody>
          <a:bodyPr/>
          <a:lstStyle/>
          <a:p>
            <a:pPr algn="ctr"/>
            <a:r>
              <a:rPr lang="pl-PL" altLang="pl-PL" smtClean="0">
                <a:solidFill>
                  <a:schemeClr val="tx1"/>
                </a:solidFill>
              </a:rPr>
              <a:t>Wartość wniosków dofinansowanych w POIR </a:t>
            </a:r>
            <a:br>
              <a:rPr lang="pl-PL" altLang="pl-PL" smtClean="0">
                <a:solidFill>
                  <a:schemeClr val="tx1"/>
                </a:solidFill>
              </a:rPr>
            </a:br>
            <a:r>
              <a:rPr lang="pl-PL" altLang="pl-PL" smtClean="0">
                <a:solidFill>
                  <a:schemeClr val="tx1"/>
                </a:solidFill>
              </a:rPr>
              <a:t>w podziale na region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4" descr="Znalezione obrazy dla zapytania mapa polski województw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450" y="439738"/>
            <a:ext cx="6697663" cy="6373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5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3200" y="3910013"/>
            <a:ext cx="1296988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6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825" y="2781300"/>
            <a:ext cx="129540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7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375" y="3933825"/>
            <a:ext cx="1296988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8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6238" y="3224213"/>
            <a:ext cx="1295400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9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50" y="1700213"/>
            <a:ext cx="1296988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0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088" y="1158875"/>
            <a:ext cx="129540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1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0" y="2297113"/>
            <a:ext cx="1295400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2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25" y="1446213"/>
            <a:ext cx="1295400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3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7763" y="2032000"/>
            <a:ext cx="1296987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4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7300" y="4179888"/>
            <a:ext cx="1296988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5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6188" y="5661025"/>
            <a:ext cx="1295400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6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275" y="5767388"/>
            <a:ext cx="1295400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7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363" y="4652963"/>
            <a:ext cx="1295400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8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200" y="5440363"/>
            <a:ext cx="1296988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9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2413" y="4686300"/>
            <a:ext cx="1296987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90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4813" y="4111625"/>
            <a:ext cx="129540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91" name="Picture 10" descr="Znalezione obrazy dla zapytania podium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8588" y="3222625"/>
            <a:ext cx="129540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8692" name="Grupa 24"/>
          <p:cNvGrpSpPr>
            <a:grpSpLocks/>
          </p:cNvGrpSpPr>
          <p:nvPr/>
        </p:nvGrpSpPr>
        <p:grpSpPr bwMode="auto">
          <a:xfrm>
            <a:off x="5040313" y="2428875"/>
            <a:ext cx="1403350" cy="704850"/>
            <a:chOff x="5040016" y="2428610"/>
            <a:chExt cx="1404191" cy="704401"/>
          </a:xfrm>
        </p:grpSpPr>
        <p:grpSp>
          <p:nvGrpSpPr>
            <p:cNvPr id="28845" name="Grupa 3"/>
            <p:cNvGrpSpPr>
              <a:grpSpLocks/>
            </p:cNvGrpSpPr>
            <p:nvPr/>
          </p:nvGrpSpPr>
          <p:grpSpPr bwMode="auto">
            <a:xfrm>
              <a:off x="5508104" y="2428610"/>
              <a:ext cx="468088" cy="568342"/>
              <a:chOff x="933003" y="4368439"/>
              <a:chExt cx="509242" cy="588493"/>
            </a:xfrm>
          </p:grpSpPr>
          <p:sp>
            <p:nvSpPr>
              <p:cNvPr id="24" name="Elipsa 23"/>
              <p:cNvSpPr/>
              <p:nvPr/>
            </p:nvSpPr>
            <p:spPr>
              <a:xfrm>
                <a:off x="933552" y="4368439"/>
                <a:ext cx="508063" cy="499393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53" name="pole tekstowe 2"/>
              <p:cNvSpPr txBox="1">
                <a:spLocks noChangeArrowheads="1"/>
              </p:cNvSpPr>
              <p:nvPr/>
            </p:nvSpPr>
            <p:spPr bwMode="auto">
              <a:xfrm>
                <a:off x="971600" y="4413850"/>
                <a:ext cx="428654" cy="5430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5</a:t>
                </a:r>
              </a:p>
            </p:txBody>
          </p:sp>
        </p:grpSp>
        <p:grpSp>
          <p:nvGrpSpPr>
            <p:cNvPr id="28846" name="Grupa 89"/>
            <p:cNvGrpSpPr>
              <a:grpSpLocks/>
            </p:cNvGrpSpPr>
            <p:nvPr/>
          </p:nvGrpSpPr>
          <p:grpSpPr bwMode="auto">
            <a:xfrm>
              <a:off x="5040016" y="2578763"/>
              <a:ext cx="468088" cy="490196"/>
              <a:chOff x="933003" y="4368439"/>
              <a:chExt cx="509242" cy="507576"/>
            </a:xfrm>
          </p:grpSpPr>
          <p:sp>
            <p:nvSpPr>
              <p:cNvPr id="91" name="Elipsa 90"/>
              <p:cNvSpPr/>
              <p:nvPr/>
            </p:nvSpPr>
            <p:spPr>
              <a:xfrm>
                <a:off x="933003" y="4369023"/>
                <a:ext cx="509791" cy="499393"/>
              </a:xfrm>
              <a:prstGeom prst="ellipse">
                <a:avLst/>
              </a:prstGeom>
              <a:solidFill>
                <a:srgbClr val="FF6D6D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51" name="pole tekstowe 91"/>
              <p:cNvSpPr txBox="1">
                <a:spLocks noChangeArrowheads="1"/>
              </p:cNvSpPr>
              <p:nvPr/>
            </p:nvSpPr>
            <p:spPr bwMode="auto">
              <a:xfrm>
                <a:off x="972212" y="4397982"/>
                <a:ext cx="428654" cy="4780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9</a:t>
                </a:r>
              </a:p>
            </p:txBody>
          </p:sp>
        </p:grpSp>
        <p:grpSp>
          <p:nvGrpSpPr>
            <p:cNvPr id="28847" name="Grupa 92"/>
            <p:cNvGrpSpPr>
              <a:grpSpLocks/>
            </p:cNvGrpSpPr>
            <p:nvPr/>
          </p:nvGrpSpPr>
          <p:grpSpPr bwMode="auto">
            <a:xfrm>
              <a:off x="5976120" y="2636916"/>
              <a:ext cx="468087" cy="496095"/>
              <a:chOff x="933006" y="4354092"/>
              <a:chExt cx="509242" cy="513684"/>
            </a:xfrm>
          </p:grpSpPr>
          <p:sp>
            <p:nvSpPr>
              <p:cNvPr id="94" name="Elipsa 93"/>
              <p:cNvSpPr/>
              <p:nvPr/>
            </p:nvSpPr>
            <p:spPr>
              <a:xfrm>
                <a:off x="932455" y="4368384"/>
                <a:ext cx="509793" cy="499392"/>
              </a:xfrm>
              <a:prstGeom prst="ellipse">
                <a:avLst/>
              </a:prstGeom>
              <a:solidFill>
                <a:srgbClr val="FFB7B7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49" name="pole tekstowe 94"/>
              <p:cNvSpPr txBox="1">
                <a:spLocks noChangeArrowheads="1"/>
              </p:cNvSpPr>
              <p:nvPr/>
            </p:nvSpPr>
            <p:spPr bwMode="auto">
              <a:xfrm>
                <a:off x="971600" y="4354092"/>
                <a:ext cx="470648" cy="4780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7,1</a:t>
                </a:r>
              </a:p>
            </p:txBody>
          </p:sp>
        </p:grpSp>
      </p:grpSp>
      <p:grpSp>
        <p:nvGrpSpPr>
          <p:cNvPr id="28693" name="Grupa 96"/>
          <p:cNvGrpSpPr>
            <a:grpSpLocks/>
          </p:cNvGrpSpPr>
          <p:nvPr/>
        </p:nvGrpSpPr>
        <p:grpSpPr bwMode="auto">
          <a:xfrm>
            <a:off x="6156325" y="1700213"/>
            <a:ext cx="1403350" cy="720725"/>
            <a:chOff x="5040016" y="2428607"/>
            <a:chExt cx="1404191" cy="720080"/>
          </a:xfrm>
        </p:grpSpPr>
        <p:grpSp>
          <p:nvGrpSpPr>
            <p:cNvPr id="28836" name="Grupa 97"/>
            <p:cNvGrpSpPr>
              <a:grpSpLocks/>
            </p:cNvGrpSpPr>
            <p:nvPr/>
          </p:nvGrpSpPr>
          <p:grpSpPr bwMode="auto">
            <a:xfrm>
              <a:off x="5508104" y="2428607"/>
              <a:ext cx="468088" cy="505521"/>
              <a:chOff x="933003" y="4368439"/>
              <a:chExt cx="509242" cy="523445"/>
            </a:xfrm>
          </p:grpSpPr>
          <p:sp>
            <p:nvSpPr>
              <p:cNvPr id="105" name="Elipsa 104"/>
              <p:cNvSpPr/>
              <p:nvPr/>
            </p:nvSpPr>
            <p:spPr>
              <a:xfrm>
                <a:off x="933553" y="4368439"/>
                <a:ext cx="508063" cy="499264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44" name="pole tekstowe 105"/>
              <p:cNvSpPr txBox="1">
                <a:spLocks noChangeArrowheads="1"/>
              </p:cNvSpPr>
              <p:nvPr/>
            </p:nvSpPr>
            <p:spPr bwMode="auto">
              <a:xfrm>
                <a:off x="971600" y="4413850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</a:t>
                </a:r>
              </a:p>
            </p:txBody>
          </p:sp>
        </p:grpSp>
        <p:grpSp>
          <p:nvGrpSpPr>
            <p:cNvPr id="28837" name="Grupa 98"/>
            <p:cNvGrpSpPr>
              <a:grpSpLocks/>
            </p:cNvGrpSpPr>
            <p:nvPr/>
          </p:nvGrpSpPr>
          <p:grpSpPr bwMode="auto">
            <a:xfrm>
              <a:off x="5040016" y="2578763"/>
              <a:ext cx="468088" cy="490196"/>
              <a:chOff x="933003" y="4368439"/>
              <a:chExt cx="509242" cy="507576"/>
            </a:xfrm>
          </p:grpSpPr>
          <p:sp>
            <p:nvSpPr>
              <p:cNvPr id="103" name="Elipsa 102"/>
              <p:cNvSpPr/>
              <p:nvPr/>
            </p:nvSpPr>
            <p:spPr>
              <a:xfrm>
                <a:off x="933003" y="4368979"/>
                <a:ext cx="509792" cy="499264"/>
              </a:xfrm>
              <a:prstGeom prst="ellipse">
                <a:avLst/>
              </a:prstGeom>
              <a:solidFill>
                <a:srgbClr val="FF6D6D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42" name="pole tekstowe 103"/>
              <p:cNvSpPr txBox="1">
                <a:spLocks noChangeArrowheads="1"/>
              </p:cNvSpPr>
              <p:nvPr/>
            </p:nvSpPr>
            <p:spPr bwMode="auto">
              <a:xfrm>
                <a:off x="972212" y="4397982"/>
                <a:ext cx="428654" cy="4780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7</a:t>
                </a:r>
              </a:p>
            </p:txBody>
          </p:sp>
        </p:grpSp>
        <p:grpSp>
          <p:nvGrpSpPr>
            <p:cNvPr id="28838" name="Grupa 99"/>
            <p:cNvGrpSpPr>
              <a:grpSpLocks/>
            </p:cNvGrpSpPr>
            <p:nvPr/>
          </p:nvGrpSpPr>
          <p:grpSpPr bwMode="auto">
            <a:xfrm>
              <a:off x="5976120" y="2650769"/>
              <a:ext cx="468087" cy="497918"/>
              <a:chOff x="933006" y="4368439"/>
              <a:chExt cx="509242" cy="515572"/>
            </a:xfrm>
          </p:grpSpPr>
          <p:sp>
            <p:nvSpPr>
              <p:cNvPr id="101" name="Elipsa 100"/>
              <p:cNvSpPr/>
              <p:nvPr/>
            </p:nvSpPr>
            <p:spPr>
              <a:xfrm>
                <a:off x="932456" y="4368324"/>
                <a:ext cx="509792" cy="499264"/>
              </a:xfrm>
              <a:prstGeom prst="ellipse">
                <a:avLst/>
              </a:prstGeom>
              <a:solidFill>
                <a:srgbClr val="FFB7B7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40" name="pole tekstowe 101"/>
              <p:cNvSpPr txBox="1">
                <a:spLocks noChangeArrowheads="1"/>
              </p:cNvSpPr>
              <p:nvPr/>
            </p:nvSpPr>
            <p:spPr bwMode="auto">
              <a:xfrm>
                <a:off x="971600" y="4405978"/>
                <a:ext cx="470648" cy="4780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4</a:t>
                </a:r>
              </a:p>
            </p:txBody>
          </p:sp>
        </p:grpSp>
      </p:grpSp>
      <p:grpSp>
        <p:nvGrpSpPr>
          <p:cNvPr id="28694" name="Grupa 106"/>
          <p:cNvGrpSpPr>
            <a:grpSpLocks/>
          </p:cNvGrpSpPr>
          <p:nvPr/>
        </p:nvGrpSpPr>
        <p:grpSpPr bwMode="auto">
          <a:xfrm>
            <a:off x="4778375" y="1123950"/>
            <a:ext cx="1403350" cy="720725"/>
            <a:chOff x="5040016" y="2428607"/>
            <a:chExt cx="1404191" cy="720080"/>
          </a:xfrm>
        </p:grpSpPr>
        <p:grpSp>
          <p:nvGrpSpPr>
            <p:cNvPr id="28827" name="Grupa 107"/>
            <p:cNvGrpSpPr>
              <a:grpSpLocks/>
            </p:cNvGrpSpPr>
            <p:nvPr/>
          </p:nvGrpSpPr>
          <p:grpSpPr bwMode="auto">
            <a:xfrm>
              <a:off x="5508104" y="2428607"/>
              <a:ext cx="468088" cy="505521"/>
              <a:chOff x="933003" y="4368439"/>
              <a:chExt cx="509242" cy="523445"/>
            </a:xfrm>
          </p:grpSpPr>
          <p:sp>
            <p:nvSpPr>
              <p:cNvPr id="115" name="Elipsa 114"/>
              <p:cNvSpPr/>
              <p:nvPr/>
            </p:nvSpPr>
            <p:spPr>
              <a:xfrm>
                <a:off x="933553" y="4368439"/>
                <a:ext cx="508063" cy="499264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35" name="pole tekstowe 115"/>
              <p:cNvSpPr txBox="1">
                <a:spLocks noChangeArrowheads="1"/>
              </p:cNvSpPr>
              <p:nvPr/>
            </p:nvSpPr>
            <p:spPr bwMode="auto">
              <a:xfrm>
                <a:off x="971600" y="4413850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4</a:t>
                </a:r>
              </a:p>
            </p:txBody>
          </p:sp>
        </p:grpSp>
        <p:grpSp>
          <p:nvGrpSpPr>
            <p:cNvPr id="28828" name="Grupa 108"/>
            <p:cNvGrpSpPr>
              <a:grpSpLocks/>
            </p:cNvGrpSpPr>
            <p:nvPr/>
          </p:nvGrpSpPr>
          <p:grpSpPr bwMode="auto">
            <a:xfrm>
              <a:off x="5040016" y="2578763"/>
              <a:ext cx="468088" cy="490196"/>
              <a:chOff x="933003" y="4368439"/>
              <a:chExt cx="509242" cy="507576"/>
            </a:xfrm>
          </p:grpSpPr>
          <p:sp>
            <p:nvSpPr>
              <p:cNvPr id="113" name="Elipsa 112"/>
              <p:cNvSpPr/>
              <p:nvPr/>
            </p:nvSpPr>
            <p:spPr>
              <a:xfrm>
                <a:off x="933003" y="4368980"/>
                <a:ext cx="509792" cy="499264"/>
              </a:xfrm>
              <a:prstGeom prst="ellipse">
                <a:avLst/>
              </a:prstGeom>
              <a:solidFill>
                <a:srgbClr val="FF6D6D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33" name="pole tekstowe 113"/>
              <p:cNvSpPr txBox="1">
                <a:spLocks noChangeArrowheads="1"/>
              </p:cNvSpPr>
              <p:nvPr/>
            </p:nvSpPr>
            <p:spPr bwMode="auto">
              <a:xfrm>
                <a:off x="972212" y="4397982"/>
                <a:ext cx="428654" cy="4780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9</a:t>
                </a:r>
              </a:p>
            </p:txBody>
          </p:sp>
        </p:grpSp>
        <p:grpSp>
          <p:nvGrpSpPr>
            <p:cNvPr id="28829" name="Grupa 109"/>
            <p:cNvGrpSpPr>
              <a:grpSpLocks/>
            </p:cNvGrpSpPr>
            <p:nvPr/>
          </p:nvGrpSpPr>
          <p:grpSpPr bwMode="auto">
            <a:xfrm>
              <a:off x="5976120" y="2650769"/>
              <a:ext cx="468087" cy="497918"/>
              <a:chOff x="933006" y="4368439"/>
              <a:chExt cx="509242" cy="515572"/>
            </a:xfrm>
          </p:grpSpPr>
          <p:sp>
            <p:nvSpPr>
              <p:cNvPr id="111" name="Elipsa 110"/>
              <p:cNvSpPr/>
              <p:nvPr/>
            </p:nvSpPr>
            <p:spPr>
              <a:xfrm>
                <a:off x="932456" y="4368324"/>
                <a:ext cx="509792" cy="499264"/>
              </a:xfrm>
              <a:prstGeom prst="ellipse">
                <a:avLst/>
              </a:prstGeom>
              <a:solidFill>
                <a:srgbClr val="FFB7B7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31" name="pole tekstowe 111"/>
              <p:cNvSpPr txBox="1">
                <a:spLocks noChangeArrowheads="1"/>
              </p:cNvSpPr>
              <p:nvPr/>
            </p:nvSpPr>
            <p:spPr bwMode="auto">
              <a:xfrm>
                <a:off x="971600" y="4405978"/>
                <a:ext cx="470648" cy="4780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7</a:t>
                </a:r>
              </a:p>
            </p:txBody>
          </p:sp>
        </p:grpSp>
      </p:grpSp>
      <p:grpSp>
        <p:nvGrpSpPr>
          <p:cNvPr id="28695" name="Grupa 116"/>
          <p:cNvGrpSpPr>
            <a:grpSpLocks/>
          </p:cNvGrpSpPr>
          <p:nvPr/>
        </p:nvGrpSpPr>
        <p:grpSpPr bwMode="auto">
          <a:xfrm>
            <a:off x="3186113" y="795338"/>
            <a:ext cx="1403350" cy="720725"/>
            <a:chOff x="5040016" y="2428615"/>
            <a:chExt cx="1404191" cy="720072"/>
          </a:xfrm>
        </p:grpSpPr>
        <p:grpSp>
          <p:nvGrpSpPr>
            <p:cNvPr id="28818" name="Grupa 117"/>
            <p:cNvGrpSpPr>
              <a:grpSpLocks/>
            </p:cNvGrpSpPr>
            <p:nvPr/>
          </p:nvGrpSpPr>
          <p:grpSpPr bwMode="auto">
            <a:xfrm>
              <a:off x="5508104" y="2428615"/>
              <a:ext cx="468088" cy="505522"/>
              <a:chOff x="933003" y="4368439"/>
              <a:chExt cx="509242" cy="523445"/>
            </a:xfrm>
          </p:grpSpPr>
          <p:sp>
            <p:nvSpPr>
              <p:cNvPr id="125" name="Elipsa 124"/>
              <p:cNvSpPr/>
              <p:nvPr/>
            </p:nvSpPr>
            <p:spPr>
              <a:xfrm>
                <a:off x="933552" y="4368439"/>
                <a:ext cx="508063" cy="499258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26" name="pole tekstowe 125"/>
              <p:cNvSpPr txBox="1">
                <a:spLocks noChangeArrowheads="1"/>
              </p:cNvSpPr>
              <p:nvPr/>
            </p:nvSpPr>
            <p:spPr bwMode="auto">
              <a:xfrm>
                <a:off x="971600" y="4413850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5</a:t>
                </a:r>
              </a:p>
            </p:txBody>
          </p:sp>
        </p:grpSp>
        <p:grpSp>
          <p:nvGrpSpPr>
            <p:cNvPr id="28819" name="Grupa 118"/>
            <p:cNvGrpSpPr>
              <a:grpSpLocks/>
            </p:cNvGrpSpPr>
            <p:nvPr/>
          </p:nvGrpSpPr>
          <p:grpSpPr bwMode="auto">
            <a:xfrm>
              <a:off x="5040016" y="2578763"/>
              <a:ext cx="468088" cy="490197"/>
              <a:chOff x="933003" y="4368439"/>
              <a:chExt cx="509242" cy="507577"/>
            </a:xfrm>
          </p:grpSpPr>
          <p:sp>
            <p:nvSpPr>
              <p:cNvPr id="123" name="Elipsa 122"/>
              <p:cNvSpPr/>
              <p:nvPr/>
            </p:nvSpPr>
            <p:spPr>
              <a:xfrm>
                <a:off x="933003" y="4368985"/>
                <a:ext cx="509791" cy="499257"/>
              </a:xfrm>
              <a:prstGeom prst="ellipse">
                <a:avLst/>
              </a:prstGeom>
              <a:solidFill>
                <a:srgbClr val="FF6D6D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24" name="pole tekstowe 123"/>
              <p:cNvSpPr txBox="1">
                <a:spLocks noChangeArrowheads="1"/>
              </p:cNvSpPr>
              <p:nvPr/>
            </p:nvSpPr>
            <p:spPr bwMode="auto">
              <a:xfrm>
                <a:off x="972212" y="4397982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</a:t>
                </a:r>
              </a:p>
            </p:txBody>
          </p:sp>
        </p:grpSp>
        <p:grpSp>
          <p:nvGrpSpPr>
            <p:cNvPr id="28820" name="Grupa 119"/>
            <p:cNvGrpSpPr>
              <a:grpSpLocks/>
            </p:cNvGrpSpPr>
            <p:nvPr/>
          </p:nvGrpSpPr>
          <p:grpSpPr bwMode="auto">
            <a:xfrm>
              <a:off x="5976120" y="2650769"/>
              <a:ext cx="468087" cy="497918"/>
              <a:chOff x="933006" y="4368439"/>
              <a:chExt cx="509242" cy="515572"/>
            </a:xfrm>
          </p:grpSpPr>
          <p:sp>
            <p:nvSpPr>
              <p:cNvPr id="121" name="Elipsa 120"/>
              <p:cNvSpPr/>
              <p:nvPr/>
            </p:nvSpPr>
            <p:spPr>
              <a:xfrm>
                <a:off x="932455" y="4368330"/>
                <a:ext cx="509793" cy="499258"/>
              </a:xfrm>
              <a:prstGeom prst="ellipse">
                <a:avLst/>
              </a:prstGeom>
              <a:solidFill>
                <a:srgbClr val="FFB7B7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22" name="pole tekstowe 121"/>
              <p:cNvSpPr txBox="1">
                <a:spLocks noChangeArrowheads="1"/>
              </p:cNvSpPr>
              <p:nvPr/>
            </p:nvSpPr>
            <p:spPr bwMode="auto">
              <a:xfrm>
                <a:off x="971600" y="4405978"/>
                <a:ext cx="470648" cy="4780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7</a:t>
                </a:r>
              </a:p>
            </p:txBody>
          </p:sp>
        </p:grpSp>
      </p:grpSp>
      <p:grpSp>
        <p:nvGrpSpPr>
          <p:cNvPr id="28696" name="Grupa 126"/>
          <p:cNvGrpSpPr>
            <a:grpSpLocks/>
          </p:cNvGrpSpPr>
          <p:nvPr/>
        </p:nvGrpSpPr>
        <p:grpSpPr bwMode="auto">
          <a:xfrm>
            <a:off x="1550988" y="1341438"/>
            <a:ext cx="1404937" cy="719137"/>
            <a:chOff x="5040016" y="2428615"/>
            <a:chExt cx="1404191" cy="720074"/>
          </a:xfrm>
        </p:grpSpPr>
        <p:grpSp>
          <p:nvGrpSpPr>
            <p:cNvPr id="28809" name="Grupa 127"/>
            <p:cNvGrpSpPr>
              <a:grpSpLocks/>
            </p:cNvGrpSpPr>
            <p:nvPr/>
          </p:nvGrpSpPr>
          <p:grpSpPr bwMode="auto">
            <a:xfrm>
              <a:off x="5508104" y="2428615"/>
              <a:ext cx="468088" cy="505522"/>
              <a:chOff x="933003" y="4368439"/>
              <a:chExt cx="509242" cy="523445"/>
            </a:xfrm>
          </p:grpSpPr>
          <p:sp>
            <p:nvSpPr>
              <p:cNvPr id="135" name="Elipsa 134"/>
              <p:cNvSpPr/>
              <p:nvPr/>
            </p:nvSpPr>
            <p:spPr>
              <a:xfrm>
                <a:off x="932976" y="4368439"/>
                <a:ext cx="509216" cy="498715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17" name="pole tekstowe 135"/>
              <p:cNvSpPr txBox="1">
                <a:spLocks noChangeArrowheads="1"/>
              </p:cNvSpPr>
              <p:nvPr/>
            </p:nvSpPr>
            <p:spPr bwMode="auto">
              <a:xfrm>
                <a:off x="971600" y="4413850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5</a:t>
                </a:r>
              </a:p>
            </p:txBody>
          </p:sp>
        </p:grpSp>
        <p:grpSp>
          <p:nvGrpSpPr>
            <p:cNvPr id="28810" name="Grupa 128"/>
            <p:cNvGrpSpPr>
              <a:grpSpLocks/>
            </p:cNvGrpSpPr>
            <p:nvPr/>
          </p:nvGrpSpPr>
          <p:grpSpPr bwMode="auto">
            <a:xfrm>
              <a:off x="5040016" y="2578763"/>
              <a:ext cx="468088" cy="490197"/>
              <a:chOff x="933003" y="4368439"/>
              <a:chExt cx="509242" cy="507577"/>
            </a:xfrm>
          </p:grpSpPr>
          <p:sp>
            <p:nvSpPr>
              <p:cNvPr id="133" name="Elipsa 132"/>
              <p:cNvSpPr/>
              <p:nvPr/>
            </p:nvSpPr>
            <p:spPr>
              <a:xfrm>
                <a:off x="933003" y="4367684"/>
                <a:ext cx="509215" cy="500362"/>
              </a:xfrm>
              <a:prstGeom prst="ellipse">
                <a:avLst/>
              </a:prstGeom>
              <a:solidFill>
                <a:srgbClr val="FF6D6D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15" name="pole tekstowe 133"/>
              <p:cNvSpPr txBox="1">
                <a:spLocks noChangeArrowheads="1"/>
              </p:cNvSpPr>
              <p:nvPr/>
            </p:nvSpPr>
            <p:spPr bwMode="auto">
              <a:xfrm>
                <a:off x="972212" y="4397982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7</a:t>
                </a:r>
              </a:p>
            </p:txBody>
          </p:sp>
        </p:grpSp>
        <p:grpSp>
          <p:nvGrpSpPr>
            <p:cNvPr id="28811" name="Grupa 129"/>
            <p:cNvGrpSpPr>
              <a:grpSpLocks/>
            </p:cNvGrpSpPr>
            <p:nvPr/>
          </p:nvGrpSpPr>
          <p:grpSpPr bwMode="auto">
            <a:xfrm>
              <a:off x="5976120" y="2650770"/>
              <a:ext cx="468087" cy="497919"/>
              <a:chOff x="933006" y="4368439"/>
              <a:chExt cx="509242" cy="515573"/>
            </a:xfrm>
          </p:grpSpPr>
          <p:sp>
            <p:nvSpPr>
              <p:cNvPr id="131" name="Elipsa 130"/>
              <p:cNvSpPr/>
              <p:nvPr/>
            </p:nvSpPr>
            <p:spPr>
              <a:xfrm>
                <a:off x="933032" y="4368837"/>
                <a:ext cx="509216" cy="498716"/>
              </a:xfrm>
              <a:prstGeom prst="ellipse">
                <a:avLst/>
              </a:prstGeom>
              <a:solidFill>
                <a:srgbClr val="FFB7B7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13" name="pole tekstowe 131"/>
              <p:cNvSpPr txBox="1">
                <a:spLocks noChangeArrowheads="1"/>
              </p:cNvSpPr>
              <p:nvPr/>
            </p:nvSpPr>
            <p:spPr bwMode="auto">
              <a:xfrm>
                <a:off x="971600" y="4405978"/>
                <a:ext cx="470648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3</a:t>
                </a:r>
              </a:p>
            </p:txBody>
          </p:sp>
        </p:grpSp>
      </p:grpSp>
      <p:grpSp>
        <p:nvGrpSpPr>
          <p:cNvPr id="28697" name="Grupa 136"/>
          <p:cNvGrpSpPr>
            <a:grpSpLocks/>
          </p:cNvGrpSpPr>
          <p:nvPr/>
        </p:nvGrpSpPr>
        <p:grpSpPr bwMode="auto">
          <a:xfrm>
            <a:off x="3454400" y="1955800"/>
            <a:ext cx="1443038" cy="704850"/>
            <a:chOff x="5040016" y="2428615"/>
            <a:chExt cx="1443206" cy="704388"/>
          </a:xfrm>
        </p:grpSpPr>
        <p:grpSp>
          <p:nvGrpSpPr>
            <p:cNvPr id="28800" name="Grupa 137"/>
            <p:cNvGrpSpPr>
              <a:grpSpLocks/>
            </p:cNvGrpSpPr>
            <p:nvPr/>
          </p:nvGrpSpPr>
          <p:grpSpPr bwMode="auto">
            <a:xfrm>
              <a:off x="5508104" y="2428615"/>
              <a:ext cx="468088" cy="505522"/>
              <a:chOff x="933003" y="4368439"/>
              <a:chExt cx="509242" cy="523445"/>
            </a:xfrm>
          </p:grpSpPr>
          <p:sp>
            <p:nvSpPr>
              <p:cNvPr id="145" name="Elipsa 144"/>
              <p:cNvSpPr/>
              <p:nvPr/>
            </p:nvSpPr>
            <p:spPr>
              <a:xfrm>
                <a:off x="933307" y="4368439"/>
                <a:ext cx="509544" cy="499382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08" name="pole tekstowe 145"/>
              <p:cNvSpPr txBox="1">
                <a:spLocks noChangeArrowheads="1"/>
              </p:cNvSpPr>
              <p:nvPr/>
            </p:nvSpPr>
            <p:spPr bwMode="auto">
              <a:xfrm>
                <a:off x="971600" y="4413850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9</a:t>
                </a:r>
              </a:p>
            </p:txBody>
          </p:sp>
        </p:grpSp>
        <p:grpSp>
          <p:nvGrpSpPr>
            <p:cNvPr id="28801" name="Grupa 138"/>
            <p:cNvGrpSpPr>
              <a:grpSpLocks/>
            </p:cNvGrpSpPr>
            <p:nvPr/>
          </p:nvGrpSpPr>
          <p:grpSpPr bwMode="auto">
            <a:xfrm>
              <a:off x="5040016" y="2578763"/>
              <a:ext cx="468088" cy="490197"/>
              <a:chOff x="933003" y="4368439"/>
              <a:chExt cx="509242" cy="507577"/>
            </a:xfrm>
          </p:grpSpPr>
          <p:sp>
            <p:nvSpPr>
              <p:cNvPr id="143" name="Elipsa 142"/>
              <p:cNvSpPr/>
              <p:nvPr/>
            </p:nvSpPr>
            <p:spPr>
              <a:xfrm>
                <a:off x="933003" y="4369026"/>
                <a:ext cx="509546" cy="499383"/>
              </a:xfrm>
              <a:prstGeom prst="ellipse">
                <a:avLst/>
              </a:prstGeom>
              <a:solidFill>
                <a:srgbClr val="FF6D6D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06" name="pole tekstowe 143"/>
              <p:cNvSpPr txBox="1">
                <a:spLocks noChangeArrowheads="1"/>
              </p:cNvSpPr>
              <p:nvPr/>
            </p:nvSpPr>
            <p:spPr bwMode="auto">
              <a:xfrm>
                <a:off x="972212" y="4397982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1</a:t>
                </a:r>
              </a:p>
            </p:txBody>
          </p:sp>
        </p:grpSp>
        <p:grpSp>
          <p:nvGrpSpPr>
            <p:cNvPr id="28802" name="Grupa 139"/>
            <p:cNvGrpSpPr>
              <a:grpSpLocks/>
            </p:cNvGrpSpPr>
            <p:nvPr/>
          </p:nvGrpSpPr>
          <p:grpSpPr bwMode="auto">
            <a:xfrm>
              <a:off x="5941675" y="2647908"/>
              <a:ext cx="541547" cy="485095"/>
              <a:chOff x="895533" y="4365481"/>
              <a:chExt cx="589161" cy="502295"/>
            </a:xfrm>
          </p:grpSpPr>
          <p:sp>
            <p:nvSpPr>
              <p:cNvPr id="141" name="Elipsa 140"/>
              <p:cNvSpPr/>
              <p:nvPr/>
            </p:nvSpPr>
            <p:spPr>
              <a:xfrm>
                <a:off x="933692" y="4368392"/>
                <a:ext cx="507820" cy="499384"/>
              </a:xfrm>
              <a:prstGeom prst="ellipse">
                <a:avLst/>
              </a:prstGeom>
              <a:solidFill>
                <a:srgbClr val="FFB7B7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804" name="pole tekstowe 141"/>
              <p:cNvSpPr txBox="1">
                <a:spLocks noChangeArrowheads="1"/>
              </p:cNvSpPr>
              <p:nvPr/>
            </p:nvSpPr>
            <p:spPr bwMode="auto">
              <a:xfrm>
                <a:off x="895533" y="4365481"/>
                <a:ext cx="589161" cy="4780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5,17</a:t>
                </a:r>
              </a:p>
            </p:txBody>
          </p:sp>
        </p:grpSp>
      </p:grpSp>
      <p:grpSp>
        <p:nvGrpSpPr>
          <p:cNvPr id="28698" name="Grupa 157"/>
          <p:cNvGrpSpPr>
            <a:grpSpLocks/>
          </p:cNvGrpSpPr>
          <p:nvPr/>
        </p:nvGrpSpPr>
        <p:grpSpPr bwMode="auto">
          <a:xfrm>
            <a:off x="1366838" y="2852738"/>
            <a:ext cx="1368425" cy="720725"/>
            <a:chOff x="5040016" y="2428615"/>
            <a:chExt cx="1368221" cy="720074"/>
          </a:xfrm>
        </p:grpSpPr>
        <p:grpSp>
          <p:nvGrpSpPr>
            <p:cNvPr id="28791" name="Grupa 158"/>
            <p:cNvGrpSpPr>
              <a:grpSpLocks/>
            </p:cNvGrpSpPr>
            <p:nvPr/>
          </p:nvGrpSpPr>
          <p:grpSpPr bwMode="auto">
            <a:xfrm>
              <a:off x="5508104" y="2428615"/>
              <a:ext cx="468088" cy="505522"/>
              <a:chOff x="933003" y="4368439"/>
              <a:chExt cx="509242" cy="523445"/>
            </a:xfrm>
          </p:grpSpPr>
          <p:sp>
            <p:nvSpPr>
              <p:cNvPr id="166" name="Elipsa 165"/>
              <p:cNvSpPr/>
              <p:nvPr/>
            </p:nvSpPr>
            <p:spPr>
              <a:xfrm>
                <a:off x="933171" y="4368439"/>
                <a:ext cx="509411" cy="499259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99" name="pole tekstowe 166"/>
              <p:cNvSpPr txBox="1">
                <a:spLocks noChangeArrowheads="1"/>
              </p:cNvSpPr>
              <p:nvPr/>
            </p:nvSpPr>
            <p:spPr bwMode="auto">
              <a:xfrm>
                <a:off x="971600" y="4413850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7</a:t>
                </a:r>
              </a:p>
            </p:txBody>
          </p:sp>
        </p:grpSp>
        <p:grpSp>
          <p:nvGrpSpPr>
            <p:cNvPr id="28792" name="Grupa 159"/>
            <p:cNvGrpSpPr>
              <a:grpSpLocks/>
            </p:cNvGrpSpPr>
            <p:nvPr/>
          </p:nvGrpSpPr>
          <p:grpSpPr bwMode="auto">
            <a:xfrm>
              <a:off x="5040016" y="2578763"/>
              <a:ext cx="468088" cy="490197"/>
              <a:chOff x="933003" y="4368439"/>
              <a:chExt cx="509242" cy="507577"/>
            </a:xfrm>
          </p:grpSpPr>
          <p:sp>
            <p:nvSpPr>
              <p:cNvPr id="164" name="Elipsa 163"/>
              <p:cNvSpPr/>
              <p:nvPr/>
            </p:nvSpPr>
            <p:spPr>
              <a:xfrm>
                <a:off x="933003" y="4368985"/>
                <a:ext cx="509410" cy="499259"/>
              </a:xfrm>
              <a:prstGeom prst="ellipse">
                <a:avLst/>
              </a:prstGeom>
              <a:solidFill>
                <a:srgbClr val="FF6D6D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97" name="pole tekstowe 164"/>
              <p:cNvSpPr txBox="1">
                <a:spLocks noChangeArrowheads="1"/>
              </p:cNvSpPr>
              <p:nvPr/>
            </p:nvSpPr>
            <p:spPr bwMode="auto">
              <a:xfrm>
                <a:off x="972212" y="4397982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1</a:t>
                </a:r>
              </a:p>
            </p:txBody>
          </p:sp>
        </p:grpSp>
        <p:grpSp>
          <p:nvGrpSpPr>
            <p:cNvPr id="28793" name="Grupa 160"/>
            <p:cNvGrpSpPr>
              <a:grpSpLocks/>
            </p:cNvGrpSpPr>
            <p:nvPr/>
          </p:nvGrpSpPr>
          <p:grpSpPr bwMode="auto">
            <a:xfrm>
              <a:off x="5940150" y="2650770"/>
              <a:ext cx="468087" cy="497919"/>
              <a:chOff x="893874" y="4368439"/>
              <a:chExt cx="509242" cy="515573"/>
            </a:xfrm>
          </p:grpSpPr>
          <p:sp>
            <p:nvSpPr>
              <p:cNvPr id="162" name="Elipsa 161"/>
              <p:cNvSpPr/>
              <p:nvPr/>
            </p:nvSpPr>
            <p:spPr>
              <a:xfrm>
                <a:off x="893704" y="4368329"/>
                <a:ext cx="509412" cy="499260"/>
              </a:xfrm>
              <a:prstGeom prst="ellipse">
                <a:avLst/>
              </a:prstGeom>
              <a:solidFill>
                <a:srgbClr val="FFB7B7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95" name="pole tekstowe 162"/>
              <p:cNvSpPr txBox="1">
                <a:spLocks noChangeArrowheads="1"/>
              </p:cNvSpPr>
              <p:nvPr/>
            </p:nvSpPr>
            <p:spPr bwMode="auto">
              <a:xfrm>
                <a:off x="893875" y="4405978"/>
                <a:ext cx="470648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9</a:t>
                </a:r>
              </a:p>
            </p:txBody>
          </p:sp>
        </p:grpSp>
      </p:grpSp>
      <p:grpSp>
        <p:nvGrpSpPr>
          <p:cNvPr id="28699" name="Grupa 167"/>
          <p:cNvGrpSpPr>
            <a:grpSpLocks/>
          </p:cNvGrpSpPr>
          <p:nvPr/>
        </p:nvGrpSpPr>
        <p:grpSpPr bwMode="auto">
          <a:xfrm>
            <a:off x="2870200" y="2882900"/>
            <a:ext cx="1403350" cy="719138"/>
            <a:chOff x="5040016" y="2428615"/>
            <a:chExt cx="1404191" cy="720074"/>
          </a:xfrm>
        </p:grpSpPr>
        <p:grpSp>
          <p:nvGrpSpPr>
            <p:cNvPr id="28782" name="Grupa 168"/>
            <p:cNvGrpSpPr>
              <a:grpSpLocks/>
            </p:cNvGrpSpPr>
            <p:nvPr/>
          </p:nvGrpSpPr>
          <p:grpSpPr bwMode="auto">
            <a:xfrm>
              <a:off x="5508104" y="2428615"/>
              <a:ext cx="468088" cy="505522"/>
              <a:chOff x="933003" y="4368439"/>
              <a:chExt cx="509242" cy="523445"/>
            </a:xfrm>
          </p:grpSpPr>
          <p:sp>
            <p:nvSpPr>
              <p:cNvPr id="176" name="Elipsa 175"/>
              <p:cNvSpPr/>
              <p:nvPr/>
            </p:nvSpPr>
            <p:spPr>
              <a:xfrm>
                <a:off x="933553" y="4368439"/>
                <a:ext cx="508063" cy="498715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90" name="pole tekstowe 176"/>
              <p:cNvSpPr txBox="1">
                <a:spLocks noChangeArrowheads="1"/>
              </p:cNvSpPr>
              <p:nvPr/>
            </p:nvSpPr>
            <p:spPr bwMode="auto">
              <a:xfrm>
                <a:off x="971600" y="4413850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5</a:t>
                </a:r>
              </a:p>
            </p:txBody>
          </p:sp>
        </p:grpSp>
        <p:grpSp>
          <p:nvGrpSpPr>
            <p:cNvPr id="28783" name="Grupa 169"/>
            <p:cNvGrpSpPr>
              <a:grpSpLocks/>
            </p:cNvGrpSpPr>
            <p:nvPr/>
          </p:nvGrpSpPr>
          <p:grpSpPr bwMode="auto">
            <a:xfrm>
              <a:off x="5040016" y="2578763"/>
              <a:ext cx="468088" cy="490197"/>
              <a:chOff x="933003" y="4368439"/>
              <a:chExt cx="509242" cy="507577"/>
            </a:xfrm>
          </p:grpSpPr>
          <p:sp>
            <p:nvSpPr>
              <p:cNvPr id="174" name="Elipsa 173"/>
              <p:cNvSpPr/>
              <p:nvPr/>
            </p:nvSpPr>
            <p:spPr>
              <a:xfrm>
                <a:off x="933003" y="4367684"/>
                <a:ext cx="509792" cy="500361"/>
              </a:xfrm>
              <a:prstGeom prst="ellipse">
                <a:avLst/>
              </a:prstGeom>
              <a:solidFill>
                <a:srgbClr val="FF6D6D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88" name="pole tekstowe 174"/>
              <p:cNvSpPr txBox="1">
                <a:spLocks noChangeArrowheads="1"/>
              </p:cNvSpPr>
              <p:nvPr/>
            </p:nvSpPr>
            <p:spPr bwMode="auto">
              <a:xfrm>
                <a:off x="972212" y="4397982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9</a:t>
                </a:r>
              </a:p>
            </p:txBody>
          </p:sp>
        </p:grpSp>
        <p:grpSp>
          <p:nvGrpSpPr>
            <p:cNvPr id="28784" name="Grupa 170"/>
            <p:cNvGrpSpPr>
              <a:grpSpLocks/>
            </p:cNvGrpSpPr>
            <p:nvPr/>
          </p:nvGrpSpPr>
          <p:grpSpPr bwMode="auto">
            <a:xfrm>
              <a:off x="5976120" y="2650770"/>
              <a:ext cx="468087" cy="497919"/>
              <a:chOff x="933006" y="4368439"/>
              <a:chExt cx="509242" cy="515573"/>
            </a:xfrm>
          </p:grpSpPr>
          <p:sp>
            <p:nvSpPr>
              <p:cNvPr id="172" name="Elipsa 171"/>
              <p:cNvSpPr/>
              <p:nvPr/>
            </p:nvSpPr>
            <p:spPr>
              <a:xfrm>
                <a:off x="932456" y="4368837"/>
                <a:ext cx="509792" cy="498716"/>
              </a:xfrm>
              <a:prstGeom prst="ellipse">
                <a:avLst/>
              </a:prstGeom>
              <a:solidFill>
                <a:srgbClr val="FFB7B7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86" name="pole tekstowe 172"/>
              <p:cNvSpPr txBox="1">
                <a:spLocks noChangeArrowheads="1"/>
              </p:cNvSpPr>
              <p:nvPr/>
            </p:nvSpPr>
            <p:spPr bwMode="auto">
              <a:xfrm>
                <a:off x="971600" y="4405978"/>
                <a:ext cx="470648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7</a:t>
                </a:r>
              </a:p>
            </p:txBody>
          </p:sp>
        </p:grpSp>
      </p:grpSp>
      <p:grpSp>
        <p:nvGrpSpPr>
          <p:cNvPr id="28700" name="Grupa 177"/>
          <p:cNvGrpSpPr>
            <a:grpSpLocks/>
          </p:cNvGrpSpPr>
          <p:nvPr/>
        </p:nvGrpSpPr>
        <p:grpSpPr bwMode="auto">
          <a:xfrm>
            <a:off x="1619250" y="3751263"/>
            <a:ext cx="1368425" cy="719137"/>
            <a:chOff x="5040016" y="2428615"/>
            <a:chExt cx="1368221" cy="720074"/>
          </a:xfrm>
        </p:grpSpPr>
        <p:grpSp>
          <p:nvGrpSpPr>
            <p:cNvPr id="28773" name="Grupa 178"/>
            <p:cNvGrpSpPr>
              <a:grpSpLocks/>
            </p:cNvGrpSpPr>
            <p:nvPr/>
          </p:nvGrpSpPr>
          <p:grpSpPr bwMode="auto">
            <a:xfrm>
              <a:off x="5508104" y="2428615"/>
              <a:ext cx="468088" cy="505522"/>
              <a:chOff x="933003" y="4368439"/>
              <a:chExt cx="509242" cy="523445"/>
            </a:xfrm>
          </p:grpSpPr>
          <p:sp>
            <p:nvSpPr>
              <p:cNvPr id="186" name="Elipsa 185"/>
              <p:cNvSpPr/>
              <p:nvPr/>
            </p:nvSpPr>
            <p:spPr>
              <a:xfrm>
                <a:off x="933172" y="4368439"/>
                <a:ext cx="509410" cy="498715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81" name="pole tekstowe 186"/>
              <p:cNvSpPr txBox="1">
                <a:spLocks noChangeArrowheads="1"/>
              </p:cNvSpPr>
              <p:nvPr/>
            </p:nvSpPr>
            <p:spPr bwMode="auto">
              <a:xfrm>
                <a:off x="971600" y="4413850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</a:t>
                </a:r>
              </a:p>
            </p:txBody>
          </p:sp>
        </p:grpSp>
        <p:grpSp>
          <p:nvGrpSpPr>
            <p:cNvPr id="28774" name="Grupa 179"/>
            <p:cNvGrpSpPr>
              <a:grpSpLocks/>
            </p:cNvGrpSpPr>
            <p:nvPr/>
          </p:nvGrpSpPr>
          <p:grpSpPr bwMode="auto">
            <a:xfrm>
              <a:off x="5040016" y="2578763"/>
              <a:ext cx="468088" cy="490197"/>
              <a:chOff x="933003" y="4368439"/>
              <a:chExt cx="509242" cy="507577"/>
            </a:xfrm>
          </p:grpSpPr>
          <p:sp>
            <p:nvSpPr>
              <p:cNvPr id="184" name="Elipsa 183"/>
              <p:cNvSpPr/>
              <p:nvPr/>
            </p:nvSpPr>
            <p:spPr>
              <a:xfrm>
                <a:off x="933003" y="4367684"/>
                <a:ext cx="509411" cy="500362"/>
              </a:xfrm>
              <a:prstGeom prst="ellipse">
                <a:avLst/>
              </a:prstGeom>
              <a:solidFill>
                <a:srgbClr val="FF6D6D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79" name="pole tekstowe 184"/>
              <p:cNvSpPr txBox="1">
                <a:spLocks noChangeArrowheads="1"/>
              </p:cNvSpPr>
              <p:nvPr/>
            </p:nvSpPr>
            <p:spPr bwMode="auto">
              <a:xfrm>
                <a:off x="972212" y="4397982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5</a:t>
                </a:r>
              </a:p>
            </p:txBody>
          </p:sp>
        </p:grpSp>
        <p:grpSp>
          <p:nvGrpSpPr>
            <p:cNvPr id="28775" name="Grupa 180"/>
            <p:cNvGrpSpPr>
              <a:grpSpLocks/>
            </p:cNvGrpSpPr>
            <p:nvPr/>
          </p:nvGrpSpPr>
          <p:grpSpPr bwMode="auto">
            <a:xfrm>
              <a:off x="5940150" y="2650770"/>
              <a:ext cx="468087" cy="497919"/>
              <a:chOff x="893874" y="4368439"/>
              <a:chExt cx="509242" cy="515573"/>
            </a:xfrm>
          </p:grpSpPr>
          <p:sp>
            <p:nvSpPr>
              <p:cNvPr id="182" name="Elipsa 181"/>
              <p:cNvSpPr/>
              <p:nvPr/>
            </p:nvSpPr>
            <p:spPr>
              <a:xfrm>
                <a:off x="893705" y="4368837"/>
                <a:ext cx="509411" cy="498716"/>
              </a:xfrm>
              <a:prstGeom prst="ellipse">
                <a:avLst/>
              </a:prstGeom>
              <a:solidFill>
                <a:srgbClr val="FFB7B7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77" name="pole tekstowe 182"/>
              <p:cNvSpPr txBox="1">
                <a:spLocks noChangeArrowheads="1"/>
              </p:cNvSpPr>
              <p:nvPr/>
            </p:nvSpPr>
            <p:spPr bwMode="auto">
              <a:xfrm>
                <a:off x="932468" y="4405978"/>
                <a:ext cx="470648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7,19</a:t>
                </a:r>
              </a:p>
            </p:txBody>
          </p:sp>
        </p:grpSp>
      </p:grpSp>
      <p:grpSp>
        <p:nvGrpSpPr>
          <p:cNvPr id="28701" name="Grupa 187"/>
          <p:cNvGrpSpPr>
            <a:grpSpLocks/>
          </p:cNvGrpSpPr>
          <p:nvPr/>
        </p:nvGrpSpPr>
        <p:grpSpPr bwMode="auto">
          <a:xfrm>
            <a:off x="3981450" y="3573463"/>
            <a:ext cx="1368425" cy="719137"/>
            <a:chOff x="5040016" y="2428615"/>
            <a:chExt cx="1368221" cy="720074"/>
          </a:xfrm>
        </p:grpSpPr>
        <p:grpSp>
          <p:nvGrpSpPr>
            <p:cNvPr id="28764" name="Grupa 188"/>
            <p:cNvGrpSpPr>
              <a:grpSpLocks/>
            </p:cNvGrpSpPr>
            <p:nvPr/>
          </p:nvGrpSpPr>
          <p:grpSpPr bwMode="auto">
            <a:xfrm>
              <a:off x="5508104" y="2428615"/>
              <a:ext cx="468088" cy="505522"/>
              <a:chOff x="933003" y="4368439"/>
              <a:chExt cx="509242" cy="523445"/>
            </a:xfrm>
          </p:grpSpPr>
          <p:sp>
            <p:nvSpPr>
              <p:cNvPr id="196" name="Elipsa 195"/>
              <p:cNvSpPr/>
              <p:nvPr/>
            </p:nvSpPr>
            <p:spPr>
              <a:xfrm>
                <a:off x="933172" y="4368439"/>
                <a:ext cx="509410" cy="498715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72" name="pole tekstowe 196"/>
              <p:cNvSpPr txBox="1">
                <a:spLocks noChangeArrowheads="1"/>
              </p:cNvSpPr>
              <p:nvPr/>
            </p:nvSpPr>
            <p:spPr bwMode="auto">
              <a:xfrm>
                <a:off x="971600" y="4413850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</a:t>
                </a:r>
              </a:p>
            </p:txBody>
          </p:sp>
        </p:grpSp>
        <p:grpSp>
          <p:nvGrpSpPr>
            <p:cNvPr id="28765" name="Grupa 189"/>
            <p:cNvGrpSpPr>
              <a:grpSpLocks/>
            </p:cNvGrpSpPr>
            <p:nvPr/>
          </p:nvGrpSpPr>
          <p:grpSpPr bwMode="auto">
            <a:xfrm>
              <a:off x="5040016" y="2578763"/>
              <a:ext cx="468088" cy="490197"/>
              <a:chOff x="933003" y="4368439"/>
              <a:chExt cx="509242" cy="507577"/>
            </a:xfrm>
          </p:grpSpPr>
          <p:sp>
            <p:nvSpPr>
              <p:cNvPr id="194" name="Elipsa 193"/>
              <p:cNvSpPr/>
              <p:nvPr/>
            </p:nvSpPr>
            <p:spPr>
              <a:xfrm>
                <a:off x="933003" y="4367684"/>
                <a:ext cx="509411" cy="500362"/>
              </a:xfrm>
              <a:prstGeom prst="ellipse">
                <a:avLst/>
              </a:prstGeom>
              <a:solidFill>
                <a:srgbClr val="FF6D6D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70" name="pole tekstowe 194"/>
              <p:cNvSpPr txBox="1">
                <a:spLocks noChangeArrowheads="1"/>
              </p:cNvSpPr>
              <p:nvPr/>
            </p:nvSpPr>
            <p:spPr bwMode="auto">
              <a:xfrm>
                <a:off x="972212" y="4397982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5</a:t>
                </a:r>
              </a:p>
            </p:txBody>
          </p:sp>
        </p:grpSp>
        <p:grpSp>
          <p:nvGrpSpPr>
            <p:cNvPr id="28766" name="Grupa 190"/>
            <p:cNvGrpSpPr>
              <a:grpSpLocks/>
            </p:cNvGrpSpPr>
            <p:nvPr/>
          </p:nvGrpSpPr>
          <p:grpSpPr bwMode="auto">
            <a:xfrm>
              <a:off x="5940150" y="2650770"/>
              <a:ext cx="468087" cy="497919"/>
              <a:chOff x="893874" y="4368439"/>
              <a:chExt cx="509242" cy="515573"/>
            </a:xfrm>
          </p:grpSpPr>
          <p:sp>
            <p:nvSpPr>
              <p:cNvPr id="192" name="Elipsa 191"/>
              <p:cNvSpPr/>
              <p:nvPr/>
            </p:nvSpPr>
            <p:spPr>
              <a:xfrm>
                <a:off x="893705" y="4368837"/>
                <a:ext cx="509411" cy="498716"/>
              </a:xfrm>
              <a:prstGeom prst="ellipse">
                <a:avLst/>
              </a:prstGeom>
              <a:solidFill>
                <a:srgbClr val="FFB7B7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68" name="pole tekstowe 192"/>
              <p:cNvSpPr txBox="1">
                <a:spLocks noChangeArrowheads="1"/>
              </p:cNvSpPr>
              <p:nvPr/>
            </p:nvSpPr>
            <p:spPr bwMode="auto">
              <a:xfrm>
                <a:off x="893875" y="4405978"/>
                <a:ext cx="470648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9,2</a:t>
                </a:r>
              </a:p>
            </p:txBody>
          </p:sp>
        </p:grpSp>
      </p:grpSp>
      <p:grpSp>
        <p:nvGrpSpPr>
          <p:cNvPr id="28702" name="Grupa 197"/>
          <p:cNvGrpSpPr>
            <a:grpSpLocks/>
          </p:cNvGrpSpPr>
          <p:nvPr/>
        </p:nvGrpSpPr>
        <p:grpSpPr bwMode="auto">
          <a:xfrm>
            <a:off x="6300788" y="3838575"/>
            <a:ext cx="1366837" cy="720725"/>
            <a:chOff x="5040016" y="2428615"/>
            <a:chExt cx="1368221" cy="720074"/>
          </a:xfrm>
        </p:grpSpPr>
        <p:grpSp>
          <p:nvGrpSpPr>
            <p:cNvPr id="28755" name="Grupa 198"/>
            <p:cNvGrpSpPr>
              <a:grpSpLocks/>
            </p:cNvGrpSpPr>
            <p:nvPr/>
          </p:nvGrpSpPr>
          <p:grpSpPr bwMode="auto">
            <a:xfrm>
              <a:off x="5508104" y="2428615"/>
              <a:ext cx="468088" cy="505522"/>
              <a:chOff x="933003" y="4368439"/>
              <a:chExt cx="509242" cy="523445"/>
            </a:xfrm>
          </p:grpSpPr>
          <p:sp>
            <p:nvSpPr>
              <p:cNvPr id="206" name="Elipsa 205"/>
              <p:cNvSpPr/>
              <p:nvPr/>
            </p:nvSpPr>
            <p:spPr>
              <a:xfrm>
                <a:off x="933762" y="4368439"/>
                <a:ext cx="508273" cy="499259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63" name="pole tekstowe 206"/>
              <p:cNvSpPr txBox="1">
                <a:spLocks noChangeArrowheads="1"/>
              </p:cNvSpPr>
              <p:nvPr/>
            </p:nvSpPr>
            <p:spPr bwMode="auto">
              <a:xfrm>
                <a:off x="971600" y="4413850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5</a:t>
                </a:r>
              </a:p>
            </p:txBody>
          </p:sp>
        </p:grpSp>
        <p:grpSp>
          <p:nvGrpSpPr>
            <p:cNvPr id="28756" name="Grupa 199"/>
            <p:cNvGrpSpPr>
              <a:grpSpLocks/>
            </p:cNvGrpSpPr>
            <p:nvPr/>
          </p:nvGrpSpPr>
          <p:grpSpPr bwMode="auto">
            <a:xfrm>
              <a:off x="5040016" y="2578763"/>
              <a:ext cx="468088" cy="490197"/>
              <a:chOff x="933003" y="4368439"/>
              <a:chExt cx="509242" cy="507577"/>
            </a:xfrm>
          </p:grpSpPr>
          <p:sp>
            <p:nvSpPr>
              <p:cNvPr id="204" name="Elipsa 203"/>
              <p:cNvSpPr/>
              <p:nvPr/>
            </p:nvSpPr>
            <p:spPr>
              <a:xfrm>
                <a:off x="933003" y="4368986"/>
                <a:ext cx="510001" cy="499259"/>
              </a:xfrm>
              <a:prstGeom prst="ellipse">
                <a:avLst/>
              </a:prstGeom>
              <a:solidFill>
                <a:srgbClr val="FF6D6D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61" name="pole tekstowe 204"/>
              <p:cNvSpPr txBox="1">
                <a:spLocks noChangeArrowheads="1"/>
              </p:cNvSpPr>
              <p:nvPr/>
            </p:nvSpPr>
            <p:spPr bwMode="auto">
              <a:xfrm>
                <a:off x="972212" y="4397982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7</a:t>
                </a:r>
              </a:p>
            </p:txBody>
          </p:sp>
        </p:grpSp>
        <p:grpSp>
          <p:nvGrpSpPr>
            <p:cNvPr id="28757" name="Grupa 200"/>
            <p:cNvGrpSpPr>
              <a:grpSpLocks/>
            </p:cNvGrpSpPr>
            <p:nvPr/>
          </p:nvGrpSpPr>
          <p:grpSpPr bwMode="auto">
            <a:xfrm>
              <a:off x="5940150" y="2650770"/>
              <a:ext cx="468087" cy="497919"/>
              <a:chOff x="893874" y="4368439"/>
              <a:chExt cx="509242" cy="515573"/>
            </a:xfrm>
          </p:grpSpPr>
          <p:sp>
            <p:nvSpPr>
              <p:cNvPr id="202" name="Elipsa 201"/>
              <p:cNvSpPr/>
              <p:nvPr/>
            </p:nvSpPr>
            <p:spPr>
              <a:xfrm>
                <a:off x="893114" y="4368329"/>
                <a:ext cx="510002" cy="499260"/>
              </a:xfrm>
              <a:prstGeom prst="ellipse">
                <a:avLst/>
              </a:prstGeom>
              <a:solidFill>
                <a:srgbClr val="FFB7B7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59" name="pole tekstowe 202"/>
              <p:cNvSpPr txBox="1">
                <a:spLocks noChangeArrowheads="1"/>
              </p:cNvSpPr>
              <p:nvPr/>
            </p:nvSpPr>
            <p:spPr bwMode="auto">
              <a:xfrm>
                <a:off x="932393" y="4405978"/>
                <a:ext cx="470648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</a:t>
                </a:r>
              </a:p>
            </p:txBody>
          </p:sp>
        </p:grpSp>
      </p:grpSp>
      <p:grpSp>
        <p:nvGrpSpPr>
          <p:cNvPr id="28703" name="Grupa 207"/>
          <p:cNvGrpSpPr>
            <a:grpSpLocks/>
          </p:cNvGrpSpPr>
          <p:nvPr/>
        </p:nvGrpSpPr>
        <p:grpSpPr bwMode="auto">
          <a:xfrm>
            <a:off x="2771775" y="4344988"/>
            <a:ext cx="1368425" cy="720725"/>
            <a:chOff x="5040016" y="2428615"/>
            <a:chExt cx="1368221" cy="720074"/>
          </a:xfrm>
        </p:grpSpPr>
        <p:grpSp>
          <p:nvGrpSpPr>
            <p:cNvPr id="28746" name="Grupa 208"/>
            <p:cNvGrpSpPr>
              <a:grpSpLocks/>
            </p:cNvGrpSpPr>
            <p:nvPr/>
          </p:nvGrpSpPr>
          <p:grpSpPr bwMode="auto">
            <a:xfrm>
              <a:off x="5508104" y="2428615"/>
              <a:ext cx="468088" cy="505522"/>
              <a:chOff x="933003" y="4368439"/>
              <a:chExt cx="509242" cy="523445"/>
            </a:xfrm>
          </p:grpSpPr>
          <p:sp>
            <p:nvSpPr>
              <p:cNvPr id="216" name="Elipsa 215"/>
              <p:cNvSpPr/>
              <p:nvPr/>
            </p:nvSpPr>
            <p:spPr>
              <a:xfrm>
                <a:off x="933172" y="4368439"/>
                <a:ext cx="509410" cy="499259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54" name="pole tekstowe 216"/>
              <p:cNvSpPr txBox="1">
                <a:spLocks noChangeArrowheads="1"/>
              </p:cNvSpPr>
              <p:nvPr/>
            </p:nvSpPr>
            <p:spPr bwMode="auto">
              <a:xfrm>
                <a:off x="971600" y="4413850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9</a:t>
                </a:r>
              </a:p>
            </p:txBody>
          </p:sp>
        </p:grpSp>
        <p:grpSp>
          <p:nvGrpSpPr>
            <p:cNvPr id="28747" name="Grupa 209"/>
            <p:cNvGrpSpPr>
              <a:grpSpLocks/>
            </p:cNvGrpSpPr>
            <p:nvPr/>
          </p:nvGrpSpPr>
          <p:grpSpPr bwMode="auto">
            <a:xfrm>
              <a:off x="5040016" y="2578763"/>
              <a:ext cx="468088" cy="490197"/>
              <a:chOff x="933003" y="4368439"/>
              <a:chExt cx="509242" cy="507577"/>
            </a:xfrm>
          </p:grpSpPr>
          <p:sp>
            <p:nvSpPr>
              <p:cNvPr id="214" name="Elipsa 213"/>
              <p:cNvSpPr/>
              <p:nvPr/>
            </p:nvSpPr>
            <p:spPr>
              <a:xfrm>
                <a:off x="933003" y="4368985"/>
                <a:ext cx="509411" cy="499259"/>
              </a:xfrm>
              <a:prstGeom prst="ellipse">
                <a:avLst/>
              </a:prstGeom>
              <a:solidFill>
                <a:srgbClr val="FF6D6D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52" name="pole tekstowe 214"/>
              <p:cNvSpPr txBox="1">
                <a:spLocks noChangeArrowheads="1"/>
              </p:cNvSpPr>
              <p:nvPr/>
            </p:nvSpPr>
            <p:spPr bwMode="auto">
              <a:xfrm>
                <a:off x="972212" y="4397982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1</a:t>
                </a:r>
              </a:p>
            </p:txBody>
          </p:sp>
        </p:grpSp>
        <p:grpSp>
          <p:nvGrpSpPr>
            <p:cNvPr id="28748" name="Grupa 210"/>
            <p:cNvGrpSpPr>
              <a:grpSpLocks/>
            </p:cNvGrpSpPr>
            <p:nvPr/>
          </p:nvGrpSpPr>
          <p:grpSpPr bwMode="auto">
            <a:xfrm>
              <a:off x="5940150" y="2650770"/>
              <a:ext cx="468087" cy="497919"/>
              <a:chOff x="893874" y="4368439"/>
              <a:chExt cx="509242" cy="515573"/>
            </a:xfrm>
          </p:grpSpPr>
          <p:sp>
            <p:nvSpPr>
              <p:cNvPr id="212" name="Elipsa 211"/>
              <p:cNvSpPr/>
              <p:nvPr/>
            </p:nvSpPr>
            <p:spPr>
              <a:xfrm>
                <a:off x="893705" y="4368329"/>
                <a:ext cx="509411" cy="499260"/>
              </a:xfrm>
              <a:prstGeom prst="ellipse">
                <a:avLst/>
              </a:prstGeom>
              <a:solidFill>
                <a:srgbClr val="FFB7B7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50" name="pole tekstowe 212"/>
              <p:cNvSpPr txBox="1">
                <a:spLocks noChangeArrowheads="1"/>
              </p:cNvSpPr>
              <p:nvPr/>
            </p:nvSpPr>
            <p:spPr bwMode="auto">
              <a:xfrm>
                <a:off x="932393" y="4405978"/>
                <a:ext cx="470648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4,10</a:t>
                </a:r>
              </a:p>
            </p:txBody>
          </p:sp>
        </p:grpSp>
      </p:grpSp>
      <p:grpSp>
        <p:nvGrpSpPr>
          <p:cNvPr id="28704" name="Grupa 217"/>
          <p:cNvGrpSpPr>
            <a:grpSpLocks/>
          </p:cNvGrpSpPr>
          <p:nvPr/>
        </p:nvGrpSpPr>
        <p:grpSpPr bwMode="auto">
          <a:xfrm>
            <a:off x="4881563" y="4313238"/>
            <a:ext cx="1368425" cy="719137"/>
            <a:chOff x="5040016" y="2428615"/>
            <a:chExt cx="1368221" cy="720074"/>
          </a:xfrm>
        </p:grpSpPr>
        <p:grpSp>
          <p:nvGrpSpPr>
            <p:cNvPr id="28737" name="Grupa 218"/>
            <p:cNvGrpSpPr>
              <a:grpSpLocks/>
            </p:cNvGrpSpPr>
            <p:nvPr/>
          </p:nvGrpSpPr>
          <p:grpSpPr bwMode="auto">
            <a:xfrm>
              <a:off x="5508104" y="2428615"/>
              <a:ext cx="468088" cy="505522"/>
              <a:chOff x="933003" y="4368439"/>
              <a:chExt cx="509242" cy="523445"/>
            </a:xfrm>
          </p:grpSpPr>
          <p:sp>
            <p:nvSpPr>
              <p:cNvPr id="226" name="Elipsa 225"/>
              <p:cNvSpPr/>
              <p:nvPr/>
            </p:nvSpPr>
            <p:spPr>
              <a:xfrm>
                <a:off x="933171" y="4368439"/>
                <a:ext cx="509411" cy="498715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45" name="pole tekstowe 226"/>
              <p:cNvSpPr txBox="1">
                <a:spLocks noChangeArrowheads="1"/>
              </p:cNvSpPr>
              <p:nvPr/>
            </p:nvSpPr>
            <p:spPr bwMode="auto">
              <a:xfrm>
                <a:off x="971600" y="4413850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3</a:t>
                </a:r>
              </a:p>
            </p:txBody>
          </p:sp>
        </p:grpSp>
        <p:grpSp>
          <p:nvGrpSpPr>
            <p:cNvPr id="28738" name="Grupa 219"/>
            <p:cNvGrpSpPr>
              <a:grpSpLocks/>
            </p:cNvGrpSpPr>
            <p:nvPr/>
          </p:nvGrpSpPr>
          <p:grpSpPr bwMode="auto">
            <a:xfrm>
              <a:off x="5040016" y="2578763"/>
              <a:ext cx="468088" cy="490197"/>
              <a:chOff x="933003" y="4368439"/>
              <a:chExt cx="509242" cy="507577"/>
            </a:xfrm>
          </p:grpSpPr>
          <p:sp>
            <p:nvSpPr>
              <p:cNvPr id="224" name="Elipsa 223"/>
              <p:cNvSpPr/>
              <p:nvPr/>
            </p:nvSpPr>
            <p:spPr>
              <a:xfrm>
                <a:off x="933003" y="4367684"/>
                <a:ext cx="509410" cy="500362"/>
              </a:xfrm>
              <a:prstGeom prst="ellipse">
                <a:avLst/>
              </a:prstGeom>
              <a:solidFill>
                <a:srgbClr val="FF6D6D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43" name="pole tekstowe 224"/>
              <p:cNvSpPr txBox="1">
                <a:spLocks noChangeArrowheads="1"/>
              </p:cNvSpPr>
              <p:nvPr/>
            </p:nvSpPr>
            <p:spPr bwMode="auto">
              <a:xfrm>
                <a:off x="972212" y="4397982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7</a:t>
                </a:r>
              </a:p>
            </p:txBody>
          </p:sp>
        </p:grpSp>
        <p:grpSp>
          <p:nvGrpSpPr>
            <p:cNvPr id="28739" name="Grupa 220"/>
            <p:cNvGrpSpPr>
              <a:grpSpLocks/>
            </p:cNvGrpSpPr>
            <p:nvPr/>
          </p:nvGrpSpPr>
          <p:grpSpPr bwMode="auto">
            <a:xfrm>
              <a:off x="5940150" y="2650770"/>
              <a:ext cx="468087" cy="497919"/>
              <a:chOff x="893874" y="4368439"/>
              <a:chExt cx="509242" cy="515573"/>
            </a:xfrm>
          </p:grpSpPr>
          <p:sp>
            <p:nvSpPr>
              <p:cNvPr id="222" name="Elipsa 221"/>
              <p:cNvSpPr/>
              <p:nvPr/>
            </p:nvSpPr>
            <p:spPr>
              <a:xfrm>
                <a:off x="893704" y="4368837"/>
                <a:ext cx="509412" cy="498716"/>
              </a:xfrm>
              <a:prstGeom prst="ellipse">
                <a:avLst/>
              </a:prstGeom>
              <a:solidFill>
                <a:srgbClr val="FFB7B7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41" name="pole tekstowe 222"/>
              <p:cNvSpPr txBox="1">
                <a:spLocks noChangeArrowheads="1"/>
              </p:cNvSpPr>
              <p:nvPr/>
            </p:nvSpPr>
            <p:spPr bwMode="auto">
              <a:xfrm>
                <a:off x="932393" y="4405978"/>
                <a:ext cx="470648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</a:t>
                </a:r>
              </a:p>
            </p:txBody>
          </p:sp>
        </p:grpSp>
      </p:grpSp>
      <p:grpSp>
        <p:nvGrpSpPr>
          <p:cNvPr id="28705" name="Grupa 227"/>
          <p:cNvGrpSpPr>
            <a:grpSpLocks/>
          </p:cNvGrpSpPr>
          <p:nvPr/>
        </p:nvGrpSpPr>
        <p:grpSpPr bwMode="auto">
          <a:xfrm>
            <a:off x="6300788" y="5300663"/>
            <a:ext cx="1366837" cy="720725"/>
            <a:chOff x="5040016" y="2428615"/>
            <a:chExt cx="1368221" cy="720074"/>
          </a:xfrm>
        </p:grpSpPr>
        <p:grpSp>
          <p:nvGrpSpPr>
            <p:cNvPr id="28728" name="Grupa 228"/>
            <p:cNvGrpSpPr>
              <a:grpSpLocks/>
            </p:cNvGrpSpPr>
            <p:nvPr/>
          </p:nvGrpSpPr>
          <p:grpSpPr bwMode="auto">
            <a:xfrm>
              <a:off x="5508104" y="2428615"/>
              <a:ext cx="468088" cy="505522"/>
              <a:chOff x="933003" y="4368439"/>
              <a:chExt cx="509242" cy="523445"/>
            </a:xfrm>
          </p:grpSpPr>
          <p:sp>
            <p:nvSpPr>
              <p:cNvPr id="236" name="Elipsa 235"/>
              <p:cNvSpPr/>
              <p:nvPr/>
            </p:nvSpPr>
            <p:spPr>
              <a:xfrm>
                <a:off x="933762" y="4368439"/>
                <a:ext cx="508273" cy="499259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36" name="pole tekstowe 236"/>
              <p:cNvSpPr txBox="1">
                <a:spLocks noChangeArrowheads="1"/>
              </p:cNvSpPr>
              <p:nvPr/>
            </p:nvSpPr>
            <p:spPr bwMode="auto">
              <a:xfrm>
                <a:off x="971600" y="4413850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5</a:t>
                </a:r>
              </a:p>
            </p:txBody>
          </p:sp>
        </p:grpSp>
        <p:grpSp>
          <p:nvGrpSpPr>
            <p:cNvPr id="28729" name="Grupa 229"/>
            <p:cNvGrpSpPr>
              <a:grpSpLocks/>
            </p:cNvGrpSpPr>
            <p:nvPr/>
          </p:nvGrpSpPr>
          <p:grpSpPr bwMode="auto">
            <a:xfrm>
              <a:off x="5040016" y="2578763"/>
              <a:ext cx="468088" cy="490197"/>
              <a:chOff x="933003" y="4368439"/>
              <a:chExt cx="509242" cy="507577"/>
            </a:xfrm>
          </p:grpSpPr>
          <p:sp>
            <p:nvSpPr>
              <p:cNvPr id="234" name="Elipsa 233"/>
              <p:cNvSpPr/>
              <p:nvPr/>
            </p:nvSpPr>
            <p:spPr>
              <a:xfrm>
                <a:off x="933003" y="4368985"/>
                <a:ext cx="510001" cy="499259"/>
              </a:xfrm>
              <a:prstGeom prst="ellipse">
                <a:avLst/>
              </a:prstGeom>
              <a:solidFill>
                <a:srgbClr val="FF6D6D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34" name="pole tekstowe 234"/>
              <p:cNvSpPr txBox="1">
                <a:spLocks noChangeArrowheads="1"/>
              </p:cNvSpPr>
              <p:nvPr/>
            </p:nvSpPr>
            <p:spPr bwMode="auto">
              <a:xfrm>
                <a:off x="972212" y="4397982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7</a:t>
                </a:r>
              </a:p>
            </p:txBody>
          </p:sp>
        </p:grpSp>
        <p:grpSp>
          <p:nvGrpSpPr>
            <p:cNvPr id="28730" name="Grupa 230"/>
            <p:cNvGrpSpPr>
              <a:grpSpLocks/>
            </p:cNvGrpSpPr>
            <p:nvPr/>
          </p:nvGrpSpPr>
          <p:grpSpPr bwMode="auto">
            <a:xfrm>
              <a:off x="5940150" y="2650770"/>
              <a:ext cx="468087" cy="497919"/>
              <a:chOff x="893874" y="4368439"/>
              <a:chExt cx="509242" cy="515573"/>
            </a:xfrm>
          </p:grpSpPr>
          <p:sp>
            <p:nvSpPr>
              <p:cNvPr id="232" name="Elipsa 231"/>
              <p:cNvSpPr/>
              <p:nvPr/>
            </p:nvSpPr>
            <p:spPr>
              <a:xfrm>
                <a:off x="893114" y="4368329"/>
                <a:ext cx="510002" cy="499260"/>
              </a:xfrm>
              <a:prstGeom prst="ellipse">
                <a:avLst/>
              </a:prstGeom>
              <a:solidFill>
                <a:srgbClr val="FFB7B7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32" name="pole tekstowe 232"/>
              <p:cNvSpPr txBox="1">
                <a:spLocks noChangeArrowheads="1"/>
              </p:cNvSpPr>
              <p:nvPr/>
            </p:nvSpPr>
            <p:spPr bwMode="auto">
              <a:xfrm>
                <a:off x="932393" y="4405978"/>
                <a:ext cx="470648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9,17</a:t>
                </a:r>
              </a:p>
            </p:txBody>
          </p:sp>
        </p:grpSp>
      </p:grpSp>
      <p:grpSp>
        <p:nvGrpSpPr>
          <p:cNvPr id="28706" name="Grupa 237"/>
          <p:cNvGrpSpPr>
            <a:grpSpLocks/>
          </p:cNvGrpSpPr>
          <p:nvPr/>
        </p:nvGrpSpPr>
        <p:grpSpPr bwMode="auto">
          <a:xfrm>
            <a:off x="4716463" y="5391150"/>
            <a:ext cx="1368425" cy="719138"/>
            <a:chOff x="5040016" y="2428615"/>
            <a:chExt cx="1368221" cy="720074"/>
          </a:xfrm>
        </p:grpSpPr>
        <p:grpSp>
          <p:nvGrpSpPr>
            <p:cNvPr id="28719" name="Grupa 238"/>
            <p:cNvGrpSpPr>
              <a:grpSpLocks/>
            </p:cNvGrpSpPr>
            <p:nvPr/>
          </p:nvGrpSpPr>
          <p:grpSpPr bwMode="auto">
            <a:xfrm>
              <a:off x="5508104" y="2428615"/>
              <a:ext cx="468088" cy="505522"/>
              <a:chOff x="933003" y="4368439"/>
              <a:chExt cx="509242" cy="523445"/>
            </a:xfrm>
          </p:grpSpPr>
          <p:sp>
            <p:nvSpPr>
              <p:cNvPr id="246" name="Elipsa 245"/>
              <p:cNvSpPr/>
              <p:nvPr/>
            </p:nvSpPr>
            <p:spPr>
              <a:xfrm>
                <a:off x="933171" y="4368439"/>
                <a:ext cx="509411" cy="498715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27" name="pole tekstowe 246"/>
              <p:cNvSpPr txBox="1">
                <a:spLocks noChangeArrowheads="1"/>
              </p:cNvSpPr>
              <p:nvPr/>
            </p:nvSpPr>
            <p:spPr bwMode="auto">
              <a:xfrm>
                <a:off x="971600" y="4413850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5</a:t>
                </a:r>
              </a:p>
            </p:txBody>
          </p:sp>
        </p:grpSp>
        <p:grpSp>
          <p:nvGrpSpPr>
            <p:cNvPr id="28720" name="Grupa 239"/>
            <p:cNvGrpSpPr>
              <a:grpSpLocks/>
            </p:cNvGrpSpPr>
            <p:nvPr/>
          </p:nvGrpSpPr>
          <p:grpSpPr bwMode="auto">
            <a:xfrm>
              <a:off x="5040016" y="2578763"/>
              <a:ext cx="468088" cy="490197"/>
              <a:chOff x="933003" y="4368439"/>
              <a:chExt cx="509242" cy="507577"/>
            </a:xfrm>
          </p:grpSpPr>
          <p:sp>
            <p:nvSpPr>
              <p:cNvPr id="244" name="Elipsa 243"/>
              <p:cNvSpPr/>
              <p:nvPr/>
            </p:nvSpPr>
            <p:spPr>
              <a:xfrm>
                <a:off x="933003" y="4367684"/>
                <a:ext cx="509410" cy="500361"/>
              </a:xfrm>
              <a:prstGeom prst="ellipse">
                <a:avLst/>
              </a:prstGeom>
              <a:solidFill>
                <a:srgbClr val="FF6D6D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25" name="pole tekstowe 244"/>
              <p:cNvSpPr txBox="1">
                <a:spLocks noChangeArrowheads="1"/>
              </p:cNvSpPr>
              <p:nvPr/>
            </p:nvSpPr>
            <p:spPr bwMode="auto">
              <a:xfrm>
                <a:off x="972212" y="4397982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7</a:t>
                </a:r>
              </a:p>
            </p:txBody>
          </p:sp>
        </p:grpSp>
        <p:grpSp>
          <p:nvGrpSpPr>
            <p:cNvPr id="28721" name="Grupa 240"/>
            <p:cNvGrpSpPr>
              <a:grpSpLocks/>
            </p:cNvGrpSpPr>
            <p:nvPr/>
          </p:nvGrpSpPr>
          <p:grpSpPr bwMode="auto">
            <a:xfrm>
              <a:off x="5940150" y="2650770"/>
              <a:ext cx="468087" cy="497919"/>
              <a:chOff x="893874" y="4368439"/>
              <a:chExt cx="509242" cy="515573"/>
            </a:xfrm>
          </p:grpSpPr>
          <p:sp>
            <p:nvSpPr>
              <p:cNvPr id="242" name="Elipsa 241"/>
              <p:cNvSpPr/>
              <p:nvPr/>
            </p:nvSpPr>
            <p:spPr>
              <a:xfrm>
                <a:off x="893704" y="4368837"/>
                <a:ext cx="509412" cy="498716"/>
              </a:xfrm>
              <a:prstGeom prst="ellipse">
                <a:avLst/>
              </a:prstGeom>
              <a:solidFill>
                <a:srgbClr val="FFB7B7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23" name="pole tekstowe 242"/>
              <p:cNvSpPr txBox="1">
                <a:spLocks noChangeArrowheads="1"/>
              </p:cNvSpPr>
              <p:nvPr/>
            </p:nvSpPr>
            <p:spPr bwMode="auto">
              <a:xfrm>
                <a:off x="932393" y="4405978"/>
                <a:ext cx="470648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9,1</a:t>
                </a:r>
              </a:p>
            </p:txBody>
          </p:sp>
        </p:grpSp>
      </p:grpSp>
      <p:grpSp>
        <p:nvGrpSpPr>
          <p:cNvPr id="28707" name="Grupa 247"/>
          <p:cNvGrpSpPr>
            <a:grpSpLocks/>
          </p:cNvGrpSpPr>
          <p:nvPr/>
        </p:nvGrpSpPr>
        <p:grpSpPr bwMode="auto">
          <a:xfrm>
            <a:off x="3427413" y="5084763"/>
            <a:ext cx="1431925" cy="720725"/>
            <a:chOff x="5040016" y="2428615"/>
            <a:chExt cx="1368221" cy="720074"/>
          </a:xfrm>
        </p:grpSpPr>
        <p:grpSp>
          <p:nvGrpSpPr>
            <p:cNvPr id="28710" name="Grupa 248"/>
            <p:cNvGrpSpPr>
              <a:grpSpLocks/>
            </p:cNvGrpSpPr>
            <p:nvPr/>
          </p:nvGrpSpPr>
          <p:grpSpPr bwMode="auto">
            <a:xfrm>
              <a:off x="5508104" y="2428615"/>
              <a:ext cx="468088" cy="505522"/>
              <a:chOff x="933003" y="4368439"/>
              <a:chExt cx="509242" cy="523445"/>
            </a:xfrm>
          </p:grpSpPr>
          <p:sp>
            <p:nvSpPr>
              <p:cNvPr id="256" name="Elipsa 255"/>
              <p:cNvSpPr/>
              <p:nvPr/>
            </p:nvSpPr>
            <p:spPr>
              <a:xfrm>
                <a:off x="933684" y="4368439"/>
                <a:ext cx="508273" cy="499259"/>
              </a:xfrm>
              <a:prstGeom prst="ellipse">
                <a:avLst/>
              </a:prstGeom>
              <a:solidFill>
                <a:srgbClr val="FF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18" name="pole tekstowe 256"/>
              <p:cNvSpPr txBox="1">
                <a:spLocks noChangeArrowheads="1"/>
              </p:cNvSpPr>
              <p:nvPr/>
            </p:nvSpPr>
            <p:spPr bwMode="auto">
              <a:xfrm>
                <a:off x="971600" y="4413850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15</a:t>
                </a:r>
              </a:p>
            </p:txBody>
          </p:sp>
        </p:grpSp>
        <p:grpSp>
          <p:nvGrpSpPr>
            <p:cNvPr id="28711" name="Grupa 249"/>
            <p:cNvGrpSpPr>
              <a:grpSpLocks/>
            </p:cNvGrpSpPr>
            <p:nvPr/>
          </p:nvGrpSpPr>
          <p:grpSpPr bwMode="auto">
            <a:xfrm>
              <a:off x="5040016" y="2578763"/>
              <a:ext cx="468088" cy="490197"/>
              <a:chOff x="933003" y="4368439"/>
              <a:chExt cx="509242" cy="507577"/>
            </a:xfrm>
          </p:grpSpPr>
          <p:sp>
            <p:nvSpPr>
              <p:cNvPr id="254" name="Elipsa 253"/>
              <p:cNvSpPr/>
              <p:nvPr/>
            </p:nvSpPr>
            <p:spPr>
              <a:xfrm>
                <a:off x="933003" y="4368985"/>
                <a:ext cx="509923" cy="499259"/>
              </a:xfrm>
              <a:prstGeom prst="ellipse">
                <a:avLst/>
              </a:prstGeom>
              <a:solidFill>
                <a:srgbClr val="FF6D6D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16" name="pole tekstowe 254"/>
              <p:cNvSpPr txBox="1">
                <a:spLocks noChangeArrowheads="1"/>
              </p:cNvSpPr>
              <p:nvPr/>
            </p:nvSpPr>
            <p:spPr bwMode="auto">
              <a:xfrm>
                <a:off x="972212" y="4397982"/>
                <a:ext cx="428654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7</a:t>
                </a:r>
              </a:p>
            </p:txBody>
          </p:sp>
        </p:grpSp>
        <p:grpSp>
          <p:nvGrpSpPr>
            <p:cNvPr id="28712" name="Grupa 250"/>
            <p:cNvGrpSpPr>
              <a:grpSpLocks/>
            </p:cNvGrpSpPr>
            <p:nvPr/>
          </p:nvGrpSpPr>
          <p:grpSpPr bwMode="auto">
            <a:xfrm>
              <a:off x="5940150" y="2650770"/>
              <a:ext cx="468087" cy="497919"/>
              <a:chOff x="893874" y="4368439"/>
              <a:chExt cx="509242" cy="515573"/>
            </a:xfrm>
          </p:grpSpPr>
          <p:sp>
            <p:nvSpPr>
              <p:cNvPr id="252" name="Elipsa 251"/>
              <p:cNvSpPr/>
              <p:nvPr/>
            </p:nvSpPr>
            <p:spPr>
              <a:xfrm>
                <a:off x="893191" y="4368329"/>
                <a:ext cx="509925" cy="499260"/>
              </a:xfrm>
              <a:prstGeom prst="ellipse">
                <a:avLst/>
              </a:prstGeom>
              <a:solidFill>
                <a:srgbClr val="FFB7B7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l-PL" sz="1200" b="1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714" name="pole tekstowe 252"/>
              <p:cNvSpPr txBox="1">
                <a:spLocks noChangeArrowheads="1"/>
              </p:cNvSpPr>
              <p:nvPr/>
            </p:nvSpPr>
            <p:spPr bwMode="auto">
              <a:xfrm>
                <a:off x="932393" y="4405978"/>
                <a:ext cx="470648" cy="478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lr>
                    <a:srgbClr val="0D5681"/>
                  </a:buClr>
                  <a:buFont typeface="Arial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Clr>
                    <a:srgbClr val="0D5681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pl-PL" altLang="pl-PL" sz="1200" b="1">
                    <a:latin typeface="Arial Narrow" pitchFamily="34" charset="0"/>
                  </a:rPr>
                  <a:t>KIS 9,17</a:t>
                </a:r>
              </a:p>
            </p:txBody>
          </p:sp>
        </p:grpSp>
      </p:grpSp>
      <p:sp>
        <p:nvSpPr>
          <p:cNvPr id="28708" name="Tytuł 1"/>
          <p:cNvSpPr>
            <a:spLocks noGrp="1"/>
          </p:cNvSpPr>
          <p:nvPr>
            <p:ph type="title"/>
          </p:nvPr>
        </p:nvSpPr>
        <p:spPr>
          <a:xfrm>
            <a:off x="250825" y="130175"/>
            <a:ext cx="8642350" cy="274638"/>
          </a:xfrm>
        </p:spPr>
        <p:txBody>
          <a:bodyPr/>
          <a:lstStyle/>
          <a:p>
            <a:r>
              <a:rPr lang="pl-PL" altLang="pl-PL" smtClean="0">
                <a:solidFill>
                  <a:schemeClr val="tx1"/>
                </a:solidFill>
              </a:rPr>
              <a:t>Krajowe inteligentne specjalizacje w regionach (wnioski w POIR)</a:t>
            </a:r>
          </a:p>
        </p:txBody>
      </p:sp>
      <p:sp>
        <p:nvSpPr>
          <p:cNvPr id="2" name="Elipsa 1"/>
          <p:cNvSpPr/>
          <p:nvPr/>
        </p:nvSpPr>
        <p:spPr>
          <a:xfrm>
            <a:off x="3471863" y="4973638"/>
            <a:ext cx="1460500" cy="1279525"/>
          </a:xfrm>
          <a:prstGeom prst="ellipse">
            <a:avLst/>
          </a:prstGeom>
          <a:noFill/>
          <a:ln w="317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yw pakietu Office">
  <a:themeElements>
    <a:clrScheme name="Ministerstwo Rozwoju 2">
      <a:dk1>
        <a:sysClr val="windowText" lastClr="000000"/>
      </a:dk1>
      <a:lt1>
        <a:sysClr val="window" lastClr="FFFFFF"/>
      </a:lt1>
      <a:dk2>
        <a:srgbClr val="44546A"/>
      </a:dk2>
      <a:lt2>
        <a:srgbClr val="E4E6EA"/>
      </a:lt2>
      <a:accent1>
        <a:srgbClr val="03A3CF"/>
      </a:accent1>
      <a:accent2>
        <a:srgbClr val="80C535"/>
      </a:accent2>
      <a:accent3>
        <a:srgbClr val="0D5681"/>
      </a:accent3>
      <a:accent4>
        <a:srgbClr val="9CA2AE"/>
      </a:accent4>
      <a:accent5>
        <a:srgbClr val="C00000"/>
      </a:accent5>
      <a:accent6>
        <a:srgbClr val="FCB504"/>
      </a:accent6>
      <a:hlink>
        <a:srgbClr val="0D5681"/>
      </a:hlink>
      <a:folHlink>
        <a:srgbClr val="0285CE"/>
      </a:folHlink>
    </a:clrScheme>
    <a:fontScheme name="Ministerstwo Rozwoju">
      <a:majorFont>
        <a:latin typeface="Arial Narrow"/>
        <a:ea typeface=""/>
        <a:cs typeface=""/>
      </a:majorFont>
      <a:minorFont>
        <a:latin typeface="Calibri"/>
        <a:ea typeface=""/>
        <a:cs typeface=""/>
      </a:minorFont>
    </a:fontScheme>
    <a:fmtScheme name="Motyw pakietu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>
          <a:buClr>
            <a:schemeClr val="accent3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0_Motyw pakietu Office">
  <a:themeElements>
    <a:clrScheme name="Ministerstwo Rozwoju 2">
      <a:dk1>
        <a:sysClr val="windowText" lastClr="000000"/>
      </a:dk1>
      <a:lt1>
        <a:sysClr val="window" lastClr="FFFFFF"/>
      </a:lt1>
      <a:dk2>
        <a:srgbClr val="44546A"/>
      </a:dk2>
      <a:lt2>
        <a:srgbClr val="E4E6EA"/>
      </a:lt2>
      <a:accent1>
        <a:srgbClr val="03A3CF"/>
      </a:accent1>
      <a:accent2>
        <a:srgbClr val="80C535"/>
      </a:accent2>
      <a:accent3>
        <a:srgbClr val="0D5681"/>
      </a:accent3>
      <a:accent4>
        <a:srgbClr val="9CA2AE"/>
      </a:accent4>
      <a:accent5>
        <a:srgbClr val="C00000"/>
      </a:accent5>
      <a:accent6>
        <a:srgbClr val="FCB504"/>
      </a:accent6>
      <a:hlink>
        <a:srgbClr val="0D5681"/>
      </a:hlink>
      <a:folHlink>
        <a:srgbClr val="0285CE"/>
      </a:folHlink>
    </a:clrScheme>
    <a:fontScheme name="Ministerstwo Rozwoju">
      <a:majorFont>
        <a:latin typeface="Arial Narrow"/>
        <a:ea typeface=""/>
        <a:cs typeface=""/>
      </a:majorFont>
      <a:minorFont>
        <a:latin typeface="Calibri"/>
        <a:ea typeface=""/>
        <a:cs typeface=""/>
      </a:minorFont>
    </a:fontScheme>
    <a:fmtScheme name="Motyw pakietu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85750" indent="-285750">
          <a:buClr>
            <a:schemeClr val="accent3"/>
          </a:buClr>
          <a:buFont typeface="Arial" panose="020B0604020202020204" pitchFamily="34" charset="0"/>
          <a:buChar char="•"/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inisterstwo Rozwoju 2">
    <a:dk1>
      <a:sysClr val="windowText" lastClr="000000"/>
    </a:dk1>
    <a:lt1>
      <a:sysClr val="window" lastClr="FFFFFF"/>
    </a:lt1>
    <a:dk2>
      <a:srgbClr val="44546A"/>
    </a:dk2>
    <a:lt2>
      <a:srgbClr val="E4E6EA"/>
    </a:lt2>
    <a:accent1>
      <a:srgbClr val="03A3CF"/>
    </a:accent1>
    <a:accent2>
      <a:srgbClr val="80C535"/>
    </a:accent2>
    <a:accent3>
      <a:srgbClr val="0D5681"/>
    </a:accent3>
    <a:accent4>
      <a:srgbClr val="9CA2AE"/>
    </a:accent4>
    <a:accent5>
      <a:srgbClr val="C00000"/>
    </a:accent5>
    <a:accent6>
      <a:srgbClr val="FCB504"/>
    </a:accent6>
    <a:hlink>
      <a:srgbClr val="0D5681"/>
    </a:hlink>
    <a:folHlink>
      <a:srgbClr val="0285CE"/>
    </a:folHlink>
  </a:clrScheme>
  <a:fontScheme name="Ministerstwo Rozwoju">
    <a:majorFont>
      <a:latin typeface="Arial Narrow"/>
      <a:ea typeface=""/>
      <a:cs typeface=""/>
    </a:majorFont>
    <a:minorFont>
      <a:latin typeface="Calibri"/>
      <a:ea typeface=""/>
      <a:cs typeface=""/>
    </a:minorFont>
  </a:fontScheme>
  <a:fmtScheme name="Motyw pakietu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Ministerstwo Rozwoju 2">
    <a:dk1>
      <a:sysClr val="windowText" lastClr="000000"/>
    </a:dk1>
    <a:lt1>
      <a:sysClr val="window" lastClr="FFFFFF"/>
    </a:lt1>
    <a:dk2>
      <a:srgbClr val="44546A"/>
    </a:dk2>
    <a:lt2>
      <a:srgbClr val="E4E6EA"/>
    </a:lt2>
    <a:accent1>
      <a:srgbClr val="03A3CF"/>
    </a:accent1>
    <a:accent2>
      <a:srgbClr val="80C535"/>
    </a:accent2>
    <a:accent3>
      <a:srgbClr val="0D5681"/>
    </a:accent3>
    <a:accent4>
      <a:srgbClr val="9CA2AE"/>
    </a:accent4>
    <a:accent5>
      <a:srgbClr val="C00000"/>
    </a:accent5>
    <a:accent6>
      <a:srgbClr val="FCB504"/>
    </a:accent6>
    <a:hlink>
      <a:srgbClr val="0D5681"/>
    </a:hlink>
    <a:folHlink>
      <a:srgbClr val="0285CE"/>
    </a:folHlink>
  </a:clrScheme>
  <a:fontScheme name="Ministerstwo Rozwoju">
    <a:majorFont>
      <a:latin typeface="Arial Narrow"/>
      <a:ea typeface=""/>
      <a:cs typeface=""/>
    </a:majorFont>
    <a:minorFont>
      <a:latin typeface="Calibri"/>
      <a:ea typeface=""/>
      <a:cs typeface=""/>
    </a:minorFont>
  </a:fontScheme>
  <a:fmtScheme name="Motyw pakietu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508</Words>
  <Application>Microsoft Office PowerPoint</Application>
  <PresentationFormat>Pokaz na ekranie (4:3)</PresentationFormat>
  <Paragraphs>121</Paragraphs>
  <Slides>11</Slides>
  <Notes>3</Notes>
  <HiddenSlides>0</HiddenSlides>
  <MMClips>0</MMClips>
  <ScaleCrop>false</ScaleCrop>
  <HeadingPairs>
    <vt:vector size="8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2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1</vt:i4>
      </vt:variant>
    </vt:vector>
  </HeadingPairs>
  <TitlesOfParts>
    <vt:vector size="19" baseType="lpstr">
      <vt:lpstr>Calibri</vt:lpstr>
      <vt:lpstr>Arial</vt:lpstr>
      <vt:lpstr>Arial Narrow</vt:lpstr>
      <vt:lpstr>Arial Black</vt:lpstr>
      <vt:lpstr>Times New Roman</vt:lpstr>
      <vt:lpstr>Motyw pakietu Office</vt:lpstr>
      <vt:lpstr>20_Motyw pakietu Office</vt:lpstr>
      <vt:lpstr>think-cell Slide</vt:lpstr>
      <vt:lpstr>Krajowe i regionalne specjalizacje –  perspektywy rozwojowe  </vt:lpstr>
      <vt:lpstr>Monitorowanie KIS</vt:lpstr>
      <vt:lpstr>System monitorowania Krajowej Inteligentnej Specjalizacji </vt:lpstr>
      <vt:lpstr>Dane z programów operacyjnych i Horyzont 2020 </vt:lpstr>
      <vt:lpstr>Monitorowanie KIS – Złożone wnioski (30.03.2017)</vt:lpstr>
      <vt:lpstr>Monitorowanie KIS – Liczba wniosków (rekomendowane/złożone = success rate)</vt:lpstr>
      <vt:lpstr>Zmiany w stosunku do poprzedniego monitorowania</vt:lpstr>
      <vt:lpstr>Wartość wniosków dofinansowanych w POIR  w podziale na regiony</vt:lpstr>
      <vt:lpstr>Krajowe inteligentne specjalizacje w regionach (wnioski w POIR)</vt:lpstr>
      <vt:lpstr>Synergia tematyczna KIS i RIS</vt:lpstr>
      <vt:lpstr>Dziękuję za uwagę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8-10T08:34:40Z</dcterms:created>
  <dcterms:modified xsi:type="dcterms:W3CDTF">2017-06-20T15:26:09Z</dcterms:modified>
</cp:coreProperties>
</file>